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ink/ink1.xml" ContentType="application/inkml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461" r:id="rId2"/>
    <p:sldId id="351" r:id="rId3"/>
    <p:sldId id="353" r:id="rId4"/>
    <p:sldId id="357" r:id="rId5"/>
    <p:sldId id="358" r:id="rId6"/>
    <p:sldId id="359" r:id="rId7"/>
    <p:sldId id="363" r:id="rId8"/>
    <p:sldId id="459" r:id="rId9"/>
    <p:sldId id="471" r:id="rId10"/>
    <p:sldId id="486" r:id="rId11"/>
    <p:sldId id="484" r:id="rId12"/>
    <p:sldId id="361" r:id="rId13"/>
    <p:sldId id="487" r:id="rId14"/>
  </p:sldIdLst>
  <p:sldSz cx="12192000" cy="6858000"/>
  <p:notesSz cx="6858000" cy="9144000"/>
  <p:defaultTextStyle>
    <a:defPPr>
      <a:defRPr lang="e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CCEA"/>
    <a:srgbClr val="D3E4F6"/>
    <a:srgbClr val="2E35AD"/>
    <a:srgbClr val="7F7F7F"/>
    <a:srgbClr val="484644"/>
    <a:srgbClr val="1C2276"/>
    <a:srgbClr val="2C35B4"/>
    <a:srgbClr val="252D9B"/>
    <a:srgbClr val="FFFFFF"/>
    <a:srgbClr val="571B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06" autoAdjust="0"/>
    <p:restoredTop sz="94650"/>
  </p:normalViewPr>
  <p:slideViewPr>
    <p:cSldViewPr snapToGrid="0">
      <p:cViewPr varScale="1">
        <p:scale>
          <a:sx n="61" d="100"/>
          <a:sy n="61" d="100"/>
        </p:scale>
        <p:origin x="88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\Desktop\&#1060;&#1058;\&#1048;&#1044;&#1041;\&#1092;&#1086;&#1082;&#1091;&#1089;-&#1075;&#1088;&#1091;&#1087;&#1087;&#1099;\&#1051;&#1080;&#1089;&#1090;%20Microsoft%20Excel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\Desktop\&#1060;&#1058;\&#1048;&#1044;&#1041;\&#1092;&#1086;&#1082;&#1091;&#1089;-&#1075;&#1088;&#1091;&#1087;&#1087;&#1099;\&#1051;&#1080;&#1089;&#1090;%20Microsoft%20Exce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579808187951571E-2"/>
          <c:y val="0.2080944022225123"/>
          <c:w val="0.89200944234933743"/>
          <c:h val="0.74124260618364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BE1D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7C5-418C-AF22-65DAD6A3BCC6}"/>
              </c:ext>
            </c:extLst>
          </c:dPt>
          <c:dPt>
            <c:idx val="1"/>
            <c:invertIfNegative val="0"/>
            <c:bubble3D val="0"/>
            <c:spPr>
              <a:solidFill>
                <a:srgbClr val="9BE79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C5-418C-AF22-65DAD6A3BCC6}"/>
              </c:ext>
            </c:extLst>
          </c:dPt>
          <c:dPt>
            <c:idx val="2"/>
            <c:invertIfNegative val="0"/>
            <c:bubble3D val="0"/>
            <c:spPr>
              <a:solidFill>
                <a:srgbClr val="FDD4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7C5-418C-AF22-65DAD6A3BCC6}"/>
              </c:ext>
            </c:extLst>
          </c:dPt>
          <c:dPt>
            <c:idx val="3"/>
            <c:invertIfNegative val="0"/>
            <c:bubble3D val="0"/>
            <c:spPr>
              <a:solidFill>
                <a:srgbClr val="FF867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7C5-418C-AF22-65DAD6A3BCC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Bahnschrift SemiLight SemiConde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1:$A$4</c:f>
              <c:strCache>
                <c:ptCount val="4"/>
                <c:pt idx="0">
                  <c:v>Health</c:v>
                </c:pt>
                <c:pt idx="1">
                  <c:v>Development</c:v>
                </c:pt>
                <c:pt idx="2">
                  <c:v>Material well-being</c:v>
                </c:pt>
                <c:pt idx="3">
                  <c:v>Safety</c:v>
                </c:pt>
              </c:strCache>
            </c:strRef>
          </c:cat>
          <c:val>
            <c:numRef>
              <c:f>Лист1!$B$1:$B$4</c:f>
              <c:numCache>
                <c:formatCode>0.0</c:formatCode>
                <c:ptCount val="4"/>
                <c:pt idx="0">
                  <c:v>0.5</c:v>
                </c:pt>
                <c:pt idx="1">
                  <c:v>-0.4</c:v>
                </c:pt>
                <c:pt idx="2">
                  <c:v>1.9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C5-418C-AF22-65DAD6A3BC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overlap val="-27"/>
        <c:axId val="387152991"/>
        <c:axId val="387154431"/>
      </c:barChart>
      <c:catAx>
        <c:axId val="387152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Bahnschrift SemiLight SemiConde" panose="020B0502040204020203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387154431"/>
        <c:crosses val="autoZero"/>
        <c:auto val="1"/>
        <c:lblAlgn val="ctr"/>
        <c:lblOffset val="400"/>
        <c:tickMarkSkip val="1"/>
        <c:noMultiLvlLbl val="0"/>
      </c:catAx>
      <c:valAx>
        <c:axId val="387154431"/>
        <c:scaling>
          <c:orientation val="minMax"/>
          <c:max val="2"/>
        </c:scaling>
        <c:delete val="0"/>
        <c:axPos val="l"/>
        <c:numFmt formatCode="0.0" sourceLinked="1"/>
        <c:majorTickMark val="in"/>
        <c:minorTickMark val="none"/>
        <c:tickLblPos val="nextTo"/>
        <c:spPr>
          <a:solidFill>
            <a:schemeClr val="bg1"/>
          </a:solidFill>
          <a:ln w="12700" cap="sq" cmpd="sng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Bahnschrift SemiLight SemiConde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387152991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579808187951571E-2"/>
          <c:y val="0.2080944022225123"/>
          <c:w val="0.36302062857104084"/>
          <c:h val="0.7412426061836453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BE1D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1B-4948-ADE2-6D495BB8FA28}"/>
              </c:ext>
            </c:extLst>
          </c:dPt>
          <c:dPt>
            <c:idx val="1"/>
            <c:invertIfNegative val="0"/>
            <c:bubble3D val="0"/>
            <c:spPr>
              <a:solidFill>
                <a:srgbClr val="9BE79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1B-4948-ADE2-6D495BB8FA28}"/>
              </c:ext>
            </c:extLst>
          </c:dPt>
          <c:dPt>
            <c:idx val="2"/>
            <c:invertIfNegative val="0"/>
            <c:bubble3D val="0"/>
            <c:spPr>
              <a:solidFill>
                <a:srgbClr val="FDD41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01B-4948-ADE2-6D495BB8FA28}"/>
              </c:ext>
            </c:extLst>
          </c:dPt>
          <c:dPt>
            <c:idx val="3"/>
            <c:invertIfNegative val="0"/>
            <c:bubble3D val="0"/>
            <c:spPr>
              <a:solidFill>
                <a:srgbClr val="FF867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01B-4948-ADE2-6D495BB8FA28}"/>
              </c:ext>
            </c:extLst>
          </c:dPt>
          <c:dPt>
            <c:idx val="4"/>
            <c:invertIfNegative val="0"/>
            <c:bubble3D val="0"/>
            <c:spPr>
              <a:solidFill>
                <a:srgbClr val="BDCCE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01B-4948-ADE2-6D495BB8FA28}"/>
              </c:ext>
            </c:extLst>
          </c:dPt>
          <c:dPt>
            <c:idx val="6"/>
            <c:invertIfNegative val="0"/>
            <c:bubble3D val="0"/>
            <c:spPr>
              <a:solidFill>
                <a:srgbClr val="2E35A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001B-4948-ADE2-6D495BB8FA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Bahnschrift SemiLight SemiConde" panose="020B0502040204020203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Лист1 (3)'!$A$1:$A$7</c:f>
              <c:strCache>
                <c:ptCount val="7"/>
                <c:pt idx="0">
                  <c:v>The share of students in general education institutions aged 10 and over who have reached the basic level of education in accordance with the FSES*, %</c:v>
                </c:pt>
                <c:pt idx="1">
                  <c:v>The share of young people aged 15 to 24 who do not study, do not work and do not acquire professional skills, %</c:v>
                </c:pt>
                <c:pt idx="2">
                  <c:v>The number of children engaged in associations and scientific societies of organizations of additional education of children, per 1000 children aged 0 to 17 years</c:v>
                </c:pt>
                <c:pt idx="3">
                  <c:v>The share of families with one parent (without any other relatives), in % of the total number of households</c:v>
                </c:pt>
                <c:pt idx="4">
                  <c:v>The number of homeless and neglected minors identified by employees of internal affairs units for work with minors, per 1,000 children aged 0 to 17 years</c:v>
                </c:pt>
                <c:pt idx="5">
                  <c:v>The share of events for children in the total number of events held by concert organizations and independent collectives, %</c:v>
                </c:pt>
                <c:pt idx="6">
                  <c:v>The number of students per 100 places in organizations engaged in educational activities for educational programs of preschool education, supervision and child care</c:v>
                </c:pt>
              </c:strCache>
            </c:strRef>
          </c:cat>
          <c:val>
            <c:numRef>
              <c:f>'Лист1 (3)'!$B$1:$B$7</c:f>
              <c:numCache>
                <c:formatCode>0.0</c:formatCode>
                <c:ptCount val="7"/>
                <c:pt idx="0">
                  <c:v>1.2</c:v>
                </c:pt>
                <c:pt idx="1">
                  <c:v>0.9</c:v>
                </c:pt>
                <c:pt idx="2">
                  <c:v>-1</c:v>
                </c:pt>
                <c:pt idx="3">
                  <c:v>-2.6</c:v>
                </c:pt>
                <c:pt idx="4" formatCode="General">
                  <c:v>0</c:v>
                </c:pt>
                <c:pt idx="5" formatCode="General">
                  <c:v>-0.4</c:v>
                </c:pt>
                <c:pt idx="6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01B-4948-ADE2-6D495BB8FA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overlap val="-27"/>
        <c:axId val="387152991"/>
        <c:axId val="387154431"/>
      </c:barChart>
      <c:catAx>
        <c:axId val="3871529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Bahnschrift SemiLight SemiConde" panose="020B0502040204020203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387154431"/>
        <c:crosses val="autoZero"/>
        <c:auto val="1"/>
        <c:lblAlgn val="ctr"/>
        <c:lblOffset val="400"/>
        <c:tickMarkSkip val="1"/>
        <c:noMultiLvlLbl val="0"/>
      </c:catAx>
      <c:valAx>
        <c:axId val="387154431"/>
        <c:scaling>
          <c:orientation val="minMax"/>
          <c:max val="2"/>
        </c:scaling>
        <c:delete val="0"/>
        <c:axPos val="l"/>
        <c:numFmt formatCode="0.0" sourceLinked="1"/>
        <c:majorTickMark val="in"/>
        <c:minorTickMark val="none"/>
        <c:tickLblPos val="nextTo"/>
        <c:spPr>
          <a:solidFill>
            <a:schemeClr val="bg1"/>
          </a:solidFill>
          <a:ln w="12700" cap="sq" cmpd="sng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Bahnschrift SemiLight SemiConde" panose="020B0502040204020203" pitchFamily="34" charset="0"/>
                <a:ea typeface="+mn-ea"/>
                <a:cs typeface="+mn-cs"/>
              </a:defRPr>
            </a:pPr>
            <a:endParaRPr lang="ru-RU"/>
          </a:p>
        </c:txPr>
        <c:crossAx val="387152991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601058580334873"/>
          <c:y val="0.11192289429530769"/>
          <c:w val="0.53989414196651264"/>
          <c:h val="0.85384377079601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1400" b="0" i="0" u="none" strike="noStrike" kern="1200" baseline="0">
              <a:solidFill>
                <a:schemeClr val="tx1"/>
              </a:solidFill>
              <a:latin typeface="Bahnschrift SemiLight SemiConde" panose="020B0502040204020203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485CA2-2675-49A8-8858-E402D6008B36}" type="datetimeFigureOut">
              <a:rPr lang="ru-RU" smtClean="0"/>
              <a:t>22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D85ADC-3806-4343-98D7-DD7A93802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406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2-12T20:17:48.786"/>
    </inkml:context>
    <inkml:brush xml:id="br0">
      <inkml:brushProperty name="width" value="0.1" units="cm"/>
      <inkml:brushProperty name="height" value="0.6" units="cm"/>
      <inkml:brushProperty name="color" value="#849398"/>
      <inkml:brushProperty name="inkEffects" value="pencil"/>
    </inkml:brush>
  </inkml:definitions>
  <inkml:trace contextRef="#ctx0" brushRef="#br0">0 36 16383,'13'-20'0,"-2"4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1471D1-87CD-43B9-B88B-173CC75141E6}" type="datetimeFigureOut">
              <a:rPr lang="ru-RU" smtClean="0"/>
              <a:t>22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E2B54C-50DE-4FEB-B86E-DFC593E2DF3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6778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E2B54C-50DE-4FEB-B86E-DFC593E2DF3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04253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E2B54C-50DE-4FEB-B86E-DFC593E2DF37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049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49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b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91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790594-8BF1-47EC-9104-3E778BA06C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8780EC2-7DDC-4967-9EC9-BE4411D24C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EFA6E7-E848-4F7A-AB91-8EDA00A29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07E1A6C-ADBE-483E-9C5C-F69BA9979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E2EDA5F-8203-4E51-92B9-42A66E7E5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85708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34D40D-EC62-4EB2-9084-3B3CCB897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045FEAA-1AA4-4227-A322-9C6965FDBA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A0C8F4B-44C2-4D2A-9F21-E9CD3282E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52A5F7-20B5-4FDD-929D-FC838FA73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A66D2B-74B5-4712-AF83-75349A0A8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7249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AE8852F-2800-4E74-AF14-BFAF9DD630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2A98A19-01CD-4503-8C83-452E46F73C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8D9C4C3-809E-46A7-B245-56C48D257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7B7DAFF-A588-43CB-93E0-13B5E8069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5EF5F23-431F-466B-9D08-4B1B88108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447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1000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BDA6F5-63FF-456A-93A7-5F8365E15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0E9C5E-C01E-453B-B052-360F0EAB60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6850E1C-9680-46EF-A4F9-C65BB5823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AB9026F-FF3B-4446-9139-EC0EC7124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AAD36C6-3C72-4569-A586-FE4543F14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5612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93A422-DF70-48DE-A1EB-1F33CA0C9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8685481-72DF-44CE-9820-0D29338DFB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29F2F7-564E-460B-89BD-224B37348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16E937-08EB-4734-8F0B-FB0EA4642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8196C6B-65E9-4F96-A120-DC048AB03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4538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E10C7B-A0DE-4FA8-AFEC-986AFE959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04C3D1-C902-4FCF-AF5C-83461B66E5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F8BE0B0-9A25-4EBA-9E2F-A1B9E13148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84AA771-8DF5-439E-85FE-5A3596BF1A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2BDDC3D-C6D9-409C-A7F0-6FD5D020F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D5D7C5-03DD-46A8-9A62-A5E13DF24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21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11D014-2B5F-403B-BE89-26F0FA2DD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CE9528A-256A-4E67-A28F-9210850C1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A4096C4-692C-4E0E-A966-2B557F06BA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85CF324-3F9C-4ABB-9C5C-711D5CFD6E2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46DBF4B-4E39-4A3D-8D42-80B46165BF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167F118-8579-4FE9-835A-C150B7E04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F21A92C-A587-4416-B4B6-809DD2E361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9299421-01AC-4067-99FE-C5CAA6F06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8078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10532C-1BEA-409D-96D8-03167DF48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FD5490C-3768-4B34-8CF1-729AFDEABE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11CD7B8-EC20-47AB-95CA-397E2CF0C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022F80E-B6D0-43AE-ABD4-469D0A419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3667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CCDD0E8-48F6-4CE8-B03C-3406CA037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79890B0-9D00-430E-B50C-93086EC929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AC559B9-5BCA-435F-B56D-E62C563F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1148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825A53-25D9-48B1-859C-1F83272A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7678A27-27FF-415E-9CDA-A18EEA979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Verdana" panose="020B0604030504040204" pitchFamily="34" charset="0"/>
              </a:defRPr>
            </a:lvl1pPr>
            <a:lvl2pPr>
              <a:defRPr sz="2800">
                <a:latin typeface="Verdana" panose="020B0604030504040204" pitchFamily="34" charset="0"/>
              </a:defRPr>
            </a:lvl2pPr>
            <a:lvl3pPr>
              <a:defRPr sz="2400">
                <a:latin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15DD7A9-2C17-4179-92DB-563E9732A5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Verdan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A72991E-1EB7-4722-8DC8-61A1925DF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53132E0-8B5E-42E2-9208-6C3A5FE4D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6A4B552-2A22-4AA5-858B-1DBDC6129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37566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685101C-8C19-42FD-88C0-7E437F469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Verdan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534E874-E6E4-4AD4-8493-B5E6F6ED37A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Verdana" panose="020B060403050404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F0BA2D6-E263-4FE4-9239-F709688B2A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Verdan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9A6B970-C815-4966-8C5F-6728C91A5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FDDBDD3-3934-4FAF-8493-5887AF9E8A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79B53BC-3947-48AF-AA2C-18946A8E0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5793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067E55-C6A1-46EC-A2C9-BFA878E46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F43BD58-93E6-4F01-A0EE-70686540CE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764D9C5-8336-4B3F-A46E-AB8E8E76CE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FE8711C-EBFA-4D16-86AC-80014D8854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EF8809D-3818-4C79-BDC1-2C92BA4FD4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fld id="{16FB06CD-5494-41BD-83B1-4871ACE702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2074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Verdana" panose="020B060403050404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6" Type="http://schemas.microsoft.com/office/2007/relationships/hdphoto" Target="../media/hdphoto1.wdp"/><Relationship Id="rId7" Type="http://schemas.openxmlformats.org/officeDocument/2006/relationships/tags" Target="../tags/tag7.xml"/><Relationship Id="rId71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image" Target="../media/image3.png"/><Relationship Id="rId79" Type="http://schemas.openxmlformats.org/officeDocument/2006/relationships/image" Target="../media/image6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microsoft.com/office/2007/relationships/hdphoto" Target="../media/hdphoto4.wdp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customXml" Target="../ink/ink1.xml"/><Relationship Id="rId78" Type="http://schemas.microsoft.com/office/2007/relationships/hdphoto" Target="../media/hdphoto2.wdp"/><Relationship Id="rId81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image" Target="../media/image5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notesSlide" Target="../notesSlides/notesSlide3.xml"/><Relationship Id="rId80" Type="http://schemas.microsoft.com/office/2007/relationships/hdphoto" Target="../media/hdphoto3.wdp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image" Target="../media/image4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3E2DE817-322C-4064-9AAE-224511103DF3}"/>
              </a:ext>
            </a:extLst>
          </p:cNvPr>
          <p:cNvSpPr txBox="1">
            <a:spLocks/>
          </p:cNvSpPr>
          <p:nvPr/>
        </p:nvSpPr>
        <p:spPr>
          <a:xfrm>
            <a:off x="-168676" y="5497011"/>
            <a:ext cx="9144000" cy="477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800" dirty="0">
              <a:latin typeface="Bahnschrift SemiLight SemiConde" panose="020B0502040204020203" pitchFamily="34" charset="0"/>
            </a:endParaRP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8D3519FF-4480-4197-89AA-77E8EFD23F09}"/>
              </a:ext>
            </a:extLst>
          </p:cNvPr>
          <p:cNvSpPr txBox="1">
            <a:spLocks/>
          </p:cNvSpPr>
          <p:nvPr/>
        </p:nvSpPr>
        <p:spPr>
          <a:xfrm>
            <a:off x="1524000" y="418967"/>
            <a:ext cx="9144000" cy="14680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0" dirty="0">
              <a:latin typeface="Verdana" panose="020B0604030504040204" pitchFamily="34" charset="0"/>
            </a:endParaRPr>
          </a:p>
        </p:txBody>
      </p:sp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59EB4512-A7B8-D779-4767-D5BC77F5D2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414" y="992980"/>
            <a:ext cx="7537820" cy="2879294"/>
          </a:xfrm>
        </p:spPr>
        <p:txBody>
          <a:bodyPr>
            <a:noAutofit/>
          </a:bodyPr>
          <a:lstStyle/>
          <a:p>
            <a:pPr algn="l"/>
            <a:r>
              <a:rPr lang="ru-RU" sz="3600" b="1" dirty="0">
                <a:solidFill>
                  <a:srgbClr val="2E35AD"/>
                </a:solidFill>
              </a:rPr>
              <a:t/>
            </a:r>
            <a:br>
              <a:rPr lang="ru-RU" sz="3600" b="1" dirty="0">
                <a:solidFill>
                  <a:srgbClr val="2E35AD"/>
                </a:solidFill>
              </a:rPr>
            </a:br>
            <a:r>
              <a:rPr lang="en" sz="3600" b="1" dirty="0">
                <a:solidFill>
                  <a:srgbClr val="2E35AD"/>
                </a:solidFill>
              </a:rPr>
              <a:t>“ Russian </a:t>
            </a:r>
            <a:r>
              <a:rPr lang="en-US" sz="3600" b="1" dirty="0">
                <a:solidFill>
                  <a:srgbClr val="2E35AD"/>
                </a:solidFill>
              </a:rPr>
              <a:t>index of child well-being</a:t>
            </a:r>
            <a:r>
              <a:rPr lang="en" sz="3600" b="1" dirty="0">
                <a:solidFill>
                  <a:srgbClr val="2E35AD"/>
                </a:solidFill>
              </a:rPr>
              <a:t>: implementation experience and development perspectives ”</a:t>
            </a:r>
            <a:endParaRPr lang="ru-RU" sz="3600" b="1" dirty="0">
              <a:solidFill>
                <a:srgbClr val="2E35AD"/>
              </a:solidFill>
            </a:endParaRPr>
          </a:p>
        </p:txBody>
      </p:sp>
      <p:pic>
        <p:nvPicPr>
          <p:cNvPr id="15" name="Рисунок 14" descr="Изображение выглядит как текст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10A187AC-E3EF-2B90-04AA-638F64CABFE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948" y="789148"/>
            <a:ext cx="4435452" cy="4713288"/>
          </a:xfrm>
          <a:prstGeom prst="rect">
            <a:avLst/>
          </a:prstGeom>
        </p:spPr>
      </p:pic>
      <p:sp>
        <p:nvSpPr>
          <p:cNvPr id="10" name="Объект 2">
            <a:extLst>
              <a:ext uri="{FF2B5EF4-FFF2-40B4-BE49-F238E27FC236}">
                <a16:creationId xmlns:a16="http://schemas.microsoft.com/office/drawing/2014/main" id="{2CBAB86D-A34B-823D-0EF5-2E823301D869}"/>
              </a:ext>
            </a:extLst>
          </p:cNvPr>
          <p:cNvSpPr txBox="1">
            <a:spLocks/>
          </p:cNvSpPr>
          <p:nvPr/>
        </p:nvSpPr>
        <p:spPr>
          <a:xfrm>
            <a:off x="730886" y="4338084"/>
            <a:ext cx="7441347" cy="163617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" sz="1700" b="1" dirty="0"/>
              <a:t>Elina </a:t>
            </a:r>
            <a:r>
              <a:rPr lang="en" sz="1700" b="1" dirty="0" err="1"/>
              <a:t>Illarionova</a:t>
            </a:r>
            <a:endParaRPr lang="ru-RU" sz="1700" b="1" dirty="0"/>
          </a:p>
          <a:p>
            <a:pPr marL="0" indent="0" algn="just">
              <a:buNone/>
            </a:pPr>
            <a:r>
              <a:rPr lang="en" sz="1700" dirty="0"/>
              <a:t>Head of analytical department of Elena and Gennady Timchenko Charitable Foundation</a:t>
            </a:r>
            <a:endParaRPr lang="ru-RU" sz="1700" dirty="0"/>
          </a:p>
          <a:p>
            <a:pPr marL="0" indent="0" algn="just">
              <a:buNone/>
            </a:pPr>
            <a:r>
              <a:rPr lang="en" sz="1700" b="1" dirty="0"/>
              <a:t>Anna Ipatova</a:t>
            </a:r>
            <a:endParaRPr lang="ru-RU" sz="1700" b="1" dirty="0"/>
          </a:p>
          <a:p>
            <a:pPr marL="0" indent="0" algn="just">
              <a:buNone/>
            </a:pPr>
            <a:r>
              <a:rPr lang="en-US" sz="1700" dirty="0"/>
              <a:t>Senior researcher, RANEPA</a:t>
            </a:r>
            <a:endParaRPr lang="ru-RU" sz="1700" dirty="0"/>
          </a:p>
          <a:p>
            <a:pPr marL="0" indent="0" algn="just">
              <a:buNone/>
            </a:pPr>
            <a:endParaRPr lang="ru-RU" sz="1700" dirty="0"/>
          </a:p>
          <a:p>
            <a:pPr marL="0" indent="0" algn="just">
              <a:buNone/>
            </a:pPr>
            <a:endParaRPr lang="ru-RU" sz="1700" dirty="0"/>
          </a:p>
          <a:p>
            <a:pPr marL="0" indent="0" algn="just">
              <a:buNone/>
            </a:pP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3839750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11173E6-FE4C-3CBD-658D-693B929FB81F}"/>
              </a:ext>
            </a:extLst>
          </p:cNvPr>
          <p:cNvSpPr/>
          <p:nvPr/>
        </p:nvSpPr>
        <p:spPr>
          <a:xfrm>
            <a:off x="456151" y="553997"/>
            <a:ext cx="11735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dicators of child well-being, % of respondents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A6B65D-DDAB-FD58-8F1A-E2D04ABCC8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457" y="1138772"/>
            <a:ext cx="11288486" cy="5611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093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A9FA97D-A9D0-DA9E-5B90-B86BB58805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621" y="1636651"/>
            <a:ext cx="11904757" cy="30348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781C8C-CCE7-E329-3CC1-4AC1286BB1BE}"/>
              </a:ext>
            </a:extLst>
          </p:cNvPr>
          <p:cNvSpPr/>
          <p:nvPr/>
        </p:nvSpPr>
        <p:spPr>
          <a:xfrm>
            <a:off x="456151" y="553997"/>
            <a:ext cx="1140056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dirty="0">
                <a:solidFill>
                  <a:srgbClr val="2E35AD"/>
                </a:solidFill>
                <a:latin typeface="+mj-lt"/>
              </a:rPr>
              <a:t>Subjective index of child well-being</a:t>
            </a:r>
            <a:r>
              <a:rPr lang="ru-RU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  <a:br>
              <a:rPr lang="ru-RU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US" sz="20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bjective well-being of different groups</a:t>
            </a:r>
            <a:endParaRPr lang="ru-RU" sz="3200" dirty="0">
              <a:solidFill>
                <a:srgbClr val="2E35AD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1A03077-78E4-A1B0-0376-F2A718D6FDF4}"/>
              </a:ext>
            </a:extLst>
          </p:cNvPr>
          <p:cNvCxnSpPr/>
          <p:nvPr/>
        </p:nvCxnSpPr>
        <p:spPr>
          <a:xfrm>
            <a:off x="143621" y="1773465"/>
            <a:ext cx="0" cy="2880000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04673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8240232" y="0"/>
            <a:ext cx="3951767" cy="6858000"/>
          </a:xfrm>
          <a:prstGeom prst="rect">
            <a:avLst/>
          </a:prstGeom>
          <a:solidFill>
            <a:srgbClr val="BDCCEA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05E275BD-00DD-FECB-0B57-D56824D2E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41842" y="2236097"/>
            <a:ext cx="3850157" cy="2420963"/>
          </a:xfrm>
        </p:spPr>
        <p:txBody>
          <a:bodyPr>
            <a:normAutofit/>
          </a:bodyPr>
          <a:lstStyle/>
          <a:p>
            <a:r>
              <a:rPr lang="en" sz="2000" dirty="0">
                <a:latin typeface="+mn-lt"/>
              </a:rPr>
              <a:t>It is important to measure statistical and subjective RBI separately</a:t>
            </a:r>
          </a:p>
          <a:p>
            <a:r>
              <a:rPr lang="ru-RU" sz="2000" dirty="0">
                <a:latin typeface="+mn-lt"/>
              </a:rPr>
              <a:t>С</a:t>
            </a:r>
            <a:r>
              <a:rPr lang="en" sz="2000" dirty="0" err="1">
                <a:latin typeface="+mn-lt"/>
              </a:rPr>
              <a:t>hildren's</a:t>
            </a:r>
            <a:r>
              <a:rPr lang="en" sz="2000" dirty="0">
                <a:latin typeface="+mn-lt"/>
              </a:rPr>
              <a:t> grades are below statistical</a:t>
            </a:r>
          </a:p>
          <a:p>
            <a:r>
              <a:rPr lang="en" sz="2000" dirty="0">
                <a:latin typeface="+mn-lt"/>
              </a:rPr>
              <a:t>Leningrad region:</a:t>
            </a:r>
          </a:p>
          <a:p>
            <a:pPr>
              <a:buFont typeface="Wingdings" panose="05000000000000000000" pitchFamily="2" charset="2"/>
              <a:buChar char="q"/>
            </a:pPr>
            <a:endParaRPr lang="ru-RU" sz="2000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B7BFE80-1F73-F48D-8504-CEC2F3612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661370"/>
              </p:ext>
            </p:extLst>
          </p:nvPr>
        </p:nvGraphicFramePr>
        <p:xfrm>
          <a:off x="8844515" y="4640849"/>
          <a:ext cx="2743200" cy="744454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4101575448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58750245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040035741"/>
                    </a:ext>
                  </a:extLst>
                </a:gridCol>
              </a:tblGrid>
              <a:tr h="372227"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2018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2019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202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4154079"/>
                  </a:ext>
                </a:extLst>
              </a:tr>
              <a:tr h="372227"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6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10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" sz="2000" u="none" strike="noStrike" dirty="0">
                          <a:effectLst/>
                          <a:latin typeface="Bahnschrift SemiBold Condensed" panose="020B0502040204020203" pitchFamily="34" charset="0"/>
                        </a:rPr>
                        <a:t>eleven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Condensed" panose="020B0502040204020203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2603933"/>
                  </a:ext>
                </a:extLst>
              </a:tr>
            </a:tbl>
          </a:graphicData>
        </a:graphic>
      </p:graphicFrame>
      <p:graphicFrame>
        <p:nvGraphicFramePr>
          <p:cNvPr id="10" name="Объект 10">
            <a:extLst>
              <a:ext uri="{FF2B5EF4-FFF2-40B4-BE49-F238E27FC236}">
                <a16:creationId xmlns:a16="http://schemas.microsoft.com/office/drawing/2014/main" id="{978D8359-7E1F-2C2B-9351-70BA9233BF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1544728"/>
              </p:ext>
            </p:extLst>
          </p:nvPr>
        </p:nvGraphicFramePr>
        <p:xfrm>
          <a:off x="453319" y="1479531"/>
          <a:ext cx="7446672" cy="4037719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025123">
                  <a:extLst>
                    <a:ext uri="{9D8B030D-6E8A-4147-A177-3AD203B41FA5}">
                      <a16:colId xmlns:a16="http://schemas.microsoft.com/office/drawing/2014/main" val="3454583072"/>
                    </a:ext>
                  </a:extLst>
                </a:gridCol>
                <a:gridCol w="2233717">
                  <a:extLst>
                    <a:ext uri="{9D8B030D-6E8A-4147-A177-3AD203B41FA5}">
                      <a16:colId xmlns:a16="http://schemas.microsoft.com/office/drawing/2014/main" val="761969125"/>
                    </a:ext>
                  </a:extLst>
                </a:gridCol>
                <a:gridCol w="1040055">
                  <a:extLst>
                    <a:ext uri="{9D8B030D-6E8A-4147-A177-3AD203B41FA5}">
                      <a16:colId xmlns:a16="http://schemas.microsoft.com/office/drawing/2014/main" val="978115689"/>
                    </a:ext>
                  </a:extLst>
                </a:gridCol>
                <a:gridCol w="1133026">
                  <a:extLst>
                    <a:ext uri="{9D8B030D-6E8A-4147-A177-3AD203B41FA5}">
                      <a16:colId xmlns:a16="http://schemas.microsoft.com/office/drawing/2014/main" val="485986106"/>
                    </a:ext>
                  </a:extLst>
                </a:gridCol>
                <a:gridCol w="1014751">
                  <a:extLst>
                    <a:ext uri="{9D8B030D-6E8A-4147-A177-3AD203B41FA5}">
                      <a16:colId xmlns:a16="http://schemas.microsoft.com/office/drawing/2014/main" val="3194797109"/>
                    </a:ext>
                  </a:extLst>
                </a:gridCol>
              </a:tblGrid>
              <a:tr h="58024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Pilot regio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+mn-lt"/>
                        </a:rPr>
                        <a:t>Rank 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–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baseline="0" dirty="0">
                          <a:effectLst/>
                          <a:latin typeface="+mn-lt"/>
                        </a:rPr>
                        <a:t>Subjective </a:t>
                      </a:r>
                      <a:r>
                        <a:rPr lang="en-US" sz="1600" baseline="0" dirty="0">
                          <a:effectLst/>
                          <a:latin typeface="+mn-lt"/>
                        </a:rPr>
                        <a:t>CWI</a:t>
                      </a:r>
                      <a:r>
                        <a:rPr lang="en" sz="1600" baseline="0" dirty="0">
                          <a:effectLst/>
                          <a:latin typeface="+mn-lt"/>
                        </a:rPr>
                        <a:t> (2022)</a:t>
                      </a:r>
                      <a:endParaRPr lang="ru-RU" sz="1600" dirty="0">
                        <a:effectLst/>
                        <a:highlight>
                          <a:srgbClr val="FFFFFF"/>
                        </a:highlight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Rank - Statistical CWI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4823530"/>
                  </a:ext>
                </a:extLst>
              </a:tr>
              <a:tr h="6528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400" b="1" dirty="0">
                          <a:effectLst/>
                          <a:latin typeface="+mn-lt"/>
                        </a:rPr>
                        <a:t>2018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400" b="1" dirty="0">
                          <a:effectLst/>
                          <a:latin typeface="+mn-lt"/>
                        </a:rPr>
                        <a:t>2019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400" b="1" dirty="0">
                          <a:effectLst/>
                          <a:latin typeface="+mn-lt"/>
                        </a:rPr>
                        <a:t>2020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BDCC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6398394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KhMAO-Yugra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159003322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Tambov Regio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761702146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Ulyanovsk regio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67020295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Republic of Bashkortosta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7507074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Kaliningrad regio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953155469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Altai </a:t>
                      </a:r>
                      <a:r>
                        <a:rPr lang="en" sz="1600" dirty="0" smtClean="0">
                          <a:effectLst/>
                          <a:latin typeface="+mn-lt"/>
                        </a:rPr>
                        <a:t>krai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98467583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Leningrad region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93590763"/>
                  </a:ext>
                </a:extLst>
              </a:tr>
              <a:tr h="27656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600" dirty="0">
                          <a:effectLst/>
                          <a:latin typeface="+mn-lt"/>
                        </a:rPr>
                        <a:t>Republic of Karelia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" sz="1800" b="0" dirty="0">
                          <a:solidFill>
                            <a:srgbClr val="2E35AD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800" b="0" dirty="0">
                        <a:solidFill>
                          <a:srgbClr val="2E35AD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622694837"/>
                  </a:ext>
                </a:extLst>
              </a:tr>
            </a:tbl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F19BAA-35D8-4533-86E5-E009FC4CC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16C8AE3-511E-0B05-51F6-E4CD97B0AC14}"/>
              </a:ext>
            </a:extLst>
          </p:cNvPr>
          <p:cNvSpPr/>
          <p:nvPr/>
        </p:nvSpPr>
        <p:spPr>
          <a:xfrm>
            <a:off x="456150" y="212679"/>
            <a:ext cx="79410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24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mparison of estimates of children's well-being by </a:t>
            </a:r>
            <a:r>
              <a:rPr lang="en" sz="2400" b="1" i="1" dirty="0" smtClean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atistical </a:t>
            </a:r>
            <a:r>
              <a:rPr lang="en" sz="24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nd </a:t>
            </a:r>
            <a:r>
              <a:rPr lang="en" sz="24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bjective </a:t>
            </a:r>
            <a:r>
              <a:rPr lang="en" sz="24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BI</a:t>
            </a:r>
            <a:r>
              <a:rPr lang="en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ilot regions</a:t>
            </a:r>
          </a:p>
        </p:txBody>
      </p:sp>
    </p:spTree>
    <p:extLst>
      <p:ext uri="{BB962C8B-B14F-4D97-AF65-F5344CB8AC3E}">
        <p14:creationId xmlns:p14="http://schemas.microsoft.com/office/powerpoint/2010/main" val="10722836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8240232" y="0"/>
            <a:ext cx="3951767" cy="6858000"/>
          </a:xfrm>
          <a:prstGeom prst="rect">
            <a:avLst/>
          </a:prstGeom>
          <a:solidFill>
            <a:srgbClr val="BDCCEA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CF19BAA-35D8-4533-86E5-E009FC4CC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05E275BD-00DD-FECB-0B57-D56824D2E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41842" y="3045394"/>
            <a:ext cx="3850157" cy="89598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>
                <a:latin typeface="+mn-lt"/>
              </a:rPr>
              <a:t>Thank you for attention!</a:t>
            </a:r>
            <a:endParaRPr lang="en" b="1" dirty="0">
              <a:latin typeface="+mn-lt"/>
            </a:endParaRPr>
          </a:p>
          <a:p>
            <a:pPr>
              <a:buFont typeface="Wingdings" panose="05000000000000000000" pitchFamily="2" charset="2"/>
              <a:buChar char="q"/>
            </a:pPr>
            <a:endParaRPr lang="ru-RU" sz="2000" dirty="0"/>
          </a:p>
        </p:txBody>
      </p:sp>
      <p:pic>
        <p:nvPicPr>
          <p:cNvPr id="1026" name="Picture 2" descr="http://qrcoder.ru/code/?https%3A%2F%2Fcwb-index.timchenkofoundation.org%2F&amp;6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2637" y="1042111"/>
            <a:ext cx="4773777" cy="4773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id="{05E275BD-00DD-FECB-0B57-D56824D2E04C}"/>
              </a:ext>
            </a:extLst>
          </p:cNvPr>
          <p:cNvSpPr txBox="1">
            <a:spLocks/>
          </p:cNvSpPr>
          <p:nvPr/>
        </p:nvSpPr>
        <p:spPr>
          <a:xfrm>
            <a:off x="950069" y="5825492"/>
            <a:ext cx="6901157" cy="8959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" sz="2400" dirty="0" smtClean="0">
                <a:solidFill>
                  <a:srgbClr val="2E35AD"/>
                </a:solidFill>
              </a:rPr>
              <a:t>Website of Russian </a:t>
            </a:r>
            <a:r>
              <a:rPr lang="en-US" sz="2400" dirty="0">
                <a:solidFill>
                  <a:srgbClr val="2E35AD"/>
                </a:solidFill>
              </a:rPr>
              <a:t>child well-being</a:t>
            </a:r>
            <a:r>
              <a:rPr lang="en" sz="2400" dirty="0" smtClean="0">
                <a:solidFill>
                  <a:srgbClr val="2E35AD"/>
                </a:solidFill>
              </a:rPr>
              <a:t> </a:t>
            </a:r>
            <a:r>
              <a:rPr lang="en-US" sz="2400" dirty="0" smtClean="0">
                <a:solidFill>
                  <a:srgbClr val="2E35AD"/>
                </a:solidFill>
              </a:rPr>
              <a:t>index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501131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7572651" y="0"/>
            <a:ext cx="4619349" cy="6858000"/>
          </a:xfrm>
          <a:prstGeom prst="rect">
            <a:avLst/>
          </a:prstGeom>
          <a:solidFill>
            <a:srgbClr val="2E35AD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14DED4-912E-72BD-08A5-4E167F93C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415" y="0"/>
            <a:ext cx="7152874" cy="1325563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solidFill>
                  <a:srgbClr val="2E35AD"/>
                </a:solidFill>
              </a:rPr>
              <a:t>C</a:t>
            </a:r>
            <a:r>
              <a:rPr lang="en-US" sz="3200" b="1" dirty="0">
                <a:solidFill>
                  <a:srgbClr val="2E35AD"/>
                </a:solidFill>
                <a:latin typeface="+mj-lt"/>
              </a:rPr>
              <a:t>apabilities of </a:t>
            </a:r>
            <a:r>
              <a:rPr lang="en" sz="3200" b="1" dirty="0">
                <a:solidFill>
                  <a:srgbClr val="2E35AD"/>
                </a:solidFill>
                <a:latin typeface="+mj-lt"/>
              </a:rPr>
              <a:t>the </a:t>
            </a:r>
            <a:r>
              <a:rPr lang="en-US" sz="3200" b="1" dirty="0">
                <a:solidFill>
                  <a:srgbClr val="2E35AD"/>
                </a:solidFill>
                <a:latin typeface="+mj-lt"/>
              </a:rPr>
              <a:t>CWB </a:t>
            </a:r>
            <a:r>
              <a:rPr lang="en" sz="3200" b="1" dirty="0">
                <a:solidFill>
                  <a:srgbClr val="2E35AD"/>
                </a:solidFill>
                <a:latin typeface="+mj-lt"/>
              </a:rPr>
              <a:t>system</a:t>
            </a:r>
            <a:endParaRPr lang="ru-RU" sz="3200" dirty="0">
              <a:solidFill>
                <a:srgbClr val="2E35AD"/>
              </a:solidFill>
              <a:latin typeface="+mj-lt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4A3B19-392C-93D6-9BF6-78D79AFABD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59057" y="1233377"/>
            <a:ext cx="4532943" cy="5624623"/>
          </a:xfrm>
          <a:noFill/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" sz="1600" b="1" dirty="0">
                <a:solidFill>
                  <a:schemeClr val="bg1"/>
                </a:solidFill>
                <a:latin typeface="+mn-lt"/>
              </a:rPr>
              <a:t>Statistical index of child well-bei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developed by MSU (</a:t>
            </a:r>
            <a:r>
              <a:rPr lang="en-US" sz="1400" dirty="0">
                <a:solidFill>
                  <a:schemeClr val="bg1"/>
                </a:solidFill>
                <a:latin typeface="+mn-lt"/>
              </a:rPr>
              <a:t>Lomonosov Moscow State University)</a:t>
            </a:r>
            <a:endParaRPr lang="ru-RU" sz="1400" dirty="0">
              <a:solidFill>
                <a:schemeClr val="bg1"/>
              </a:solidFill>
              <a:latin typeface="+mn-lt"/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27 indicators (official data from Rosstat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" sz="1600" b="1" dirty="0">
                <a:solidFill>
                  <a:schemeClr val="bg1"/>
                </a:solidFill>
                <a:latin typeface="+mn-lt"/>
              </a:rPr>
              <a:t>Subjective index of child well-bei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developed by RANEPA (</a:t>
            </a:r>
            <a:r>
              <a:rPr lang="en-US" sz="1400" dirty="0">
                <a:solidFill>
                  <a:schemeClr val="bg1"/>
                </a:solidFill>
                <a:latin typeface="+mn-lt"/>
              </a:rPr>
              <a:t>Russian Presidential Academy of National Economy and Public Administration</a:t>
            </a:r>
            <a:r>
              <a:rPr lang="en" sz="1400" dirty="0">
                <a:solidFill>
                  <a:schemeClr val="bg1"/>
                </a:solidFill>
                <a:latin typeface="+mn-lt"/>
              </a:rPr>
              <a:t>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18 indicators (data from surveys of children</a:t>
            </a:r>
            <a:r>
              <a:rPr lang="ru-RU" sz="1400" dirty="0">
                <a:solidFill>
                  <a:schemeClr val="bg1"/>
                </a:solidFill>
                <a:latin typeface="+mn-lt"/>
              </a:rPr>
              <a:t> 10-17 </a:t>
            </a:r>
            <a:r>
              <a:rPr lang="en-US" sz="1400" dirty="0" err="1">
                <a:solidFill>
                  <a:schemeClr val="bg1"/>
                </a:solidFill>
                <a:latin typeface="+mn-lt"/>
              </a:rPr>
              <a:t>y.o</a:t>
            </a:r>
            <a:r>
              <a:rPr lang="en-US" sz="1400" dirty="0">
                <a:solidFill>
                  <a:schemeClr val="bg1"/>
                </a:solidFill>
                <a:latin typeface="+mn-lt"/>
              </a:rPr>
              <a:t>.</a:t>
            </a:r>
            <a:r>
              <a:rPr lang="en" sz="1400" dirty="0">
                <a:solidFill>
                  <a:schemeClr val="bg1"/>
                </a:solidFill>
                <a:latin typeface="+mn-lt"/>
              </a:rPr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" sz="1600" b="1" dirty="0">
                <a:solidFill>
                  <a:schemeClr val="bg1"/>
                </a:solidFill>
                <a:latin typeface="+mn-lt"/>
              </a:rPr>
              <a:t>General index of child well-bei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combines the RANEPA and MSU indices according to </a:t>
            </a:r>
            <a:r>
              <a:rPr lang="en-US" sz="1400" dirty="0">
                <a:solidFill>
                  <a:schemeClr val="bg1"/>
                </a:solidFill>
                <a:latin typeface="+mn-lt"/>
              </a:rPr>
              <a:t>the unified methodology of z-assessments</a:t>
            </a:r>
            <a:r>
              <a:rPr lang="en" sz="1400" dirty="0">
                <a:solidFill>
                  <a:schemeClr val="bg1"/>
                </a:solidFill>
                <a:latin typeface="+mn-lt"/>
              </a:rPr>
              <a:t> (MSU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" sz="1400" dirty="0">
                <a:solidFill>
                  <a:schemeClr val="bg1"/>
                </a:solidFill>
                <a:latin typeface="+mn-lt"/>
              </a:rPr>
              <a:t>45 indicators (official Rosstat data + survey data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" sz="1600" b="1" dirty="0">
                <a:solidFill>
                  <a:schemeClr val="bg1"/>
                </a:solidFill>
                <a:latin typeface="+mn-lt"/>
              </a:rPr>
              <a:t>Sub-index system by domains and results</a:t>
            </a:r>
          </a:p>
          <a:p>
            <a:pPr lvl="1"/>
            <a:r>
              <a:rPr lang="en" sz="1400" dirty="0">
                <a:solidFill>
                  <a:schemeClr val="bg1"/>
                </a:solidFill>
                <a:latin typeface="+mn-lt"/>
              </a:rPr>
              <a:t>joint development (8-10 sub-indices)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2CBAB86D-A34B-823D-0EF5-2E823301D869}"/>
              </a:ext>
            </a:extLst>
          </p:cNvPr>
          <p:cNvSpPr txBox="1">
            <a:spLocks/>
          </p:cNvSpPr>
          <p:nvPr/>
        </p:nvSpPr>
        <p:spPr>
          <a:xfrm>
            <a:off x="321815" y="1233378"/>
            <a:ext cx="7034074" cy="53716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" sz="2000" dirty="0">
                <a:solidFill>
                  <a:srgbClr val="000000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rPr>
              <a:t>The system of indices and sub-indices makes it possible to </a:t>
            </a:r>
            <a:r>
              <a:rPr lang="en" sz="2000" b="1" dirty="0">
                <a:solidFill>
                  <a:srgbClr val="000000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rPr>
              <a:t>measure children's well-being from different angles</a:t>
            </a:r>
            <a:r>
              <a:rPr lang="en" sz="2000" dirty="0">
                <a:solidFill>
                  <a:srgbClr val="000000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  <a:p>
            <a:pPr marL="0" indent="0">
              <a:buNone/>
            </a:pPr>
            <a:endParaRPr lang="ru-RU" sz="1600" dirty="0">
              <a:solidFill>
                <a:srgbClr val="000000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" sz="1700" dirty="0"/>
              <a:t>Statistical and subjective assessment of well-being, perspective and </a:t>
            </a:r>
            <a:r>
              <a:rPr lang="en-US" sz="1700" dirty="0"/>
              <a:t>general</a:t>
            </a:r>
            <a:r>
              <a:rPr lang="en" sz="1700" dirty="0"/>
              <a:t> index (“one digit”)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" sz="1700" dirty="0"/>
              <a:t>Well-being in the field of health, material well-being, security, development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" sz="1700" dirty="0"/>
              <a:t>Adult performance in </a:t>
            </a:r>
            <a:r>
              <a:rPr lang="en-US" sz="1700" dirty="0"/>
              <a:t>final</a:t>
            </a:r>
            <a:r>
              <a:rPr lang="en" sz="1700" dirty="0"/>
              <a:t> or intermediate indicators of child well-being, in improving the environment for children, or in the level of financinging and budgeting for children's polici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" sz="1700" dirty="0"/>
              <a:t>The well-being of children in the region, in the municipality, at school; well-being in comparison with the average Russian data or well-being in isolation from such a comparison (for the municipal and school levels)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780DB38-2639-312A-F13A-DA842195B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5502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6EA055-90A5-4FBC-8246-982616237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3901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" sz="3200" b="1" dirty="0">
                <a:solidFill>
                  <a:srgbClr val="2E35AD"/>
                </a:solidFill>
                <a:latin typeface="+mj-lt"/>
              </a:rPr>
              <a:t>Partnership in </a:t>
            </a:r>
            <a:r>
              <a:rPr lang="en-US" sz="3200" b="1" dirty="0">
                <a:solidFill>
                  <a:srgbClr val="2E35AD"/>
                </a:solidFill>
                <a:latin typeface="+mj-lt"/>
              </a:rPr>
              <a:t>creating </a:t>
            </a:r>
            <a:r>
              <a:rPr lang="en" sz="3200" b="1" dirty="0">
                <a:solidFill>
                  <a:srgbClr val="2E35AD"/>
                </a:solidFill>
                <a:latin typeface="+mj-lt"/>
              </a:rPr>
              <a:t>of a child well-being index 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E3432C4D-B1C9-CDCA-E392-D5F0FEF850A3}"/>
              </a:ext>
            </a:extLst>
          </p:cNvPr>
          <p:cNvSpPr txBox="1">
            <a:spLocks/>
          </p:cNvSpPr>
          <p:nvPr/>
        </p:nvSpPr>
        <p:spPr>
          <a:xfrm>
            <a:off x="1242874" y="2004895"/>
            <a:ext cx="4474346" cy="951370"/>
          </a:xfrm>
          <a:prstGeom prst="rect">
            <a:avLst/>
          </a:prstGeom>
          <a:solidFill>
            <a:srgbClr val="2E35AD"/>
          </a:solidFill>
          <a:ln w="3175">
            <a:noFill/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" sz="2000" dirty="0" smtClean="0">
                <a:solidFill>
                  <a:schemeClr val="bg1"/>
                </a:solidFill>
                <a:latin typeface="Verdana" panose="020B0604030504040204" pitchFamily="34" charset="0"/>
              </a:rPr>
              <a:t>Federal </a:t>
            </a:r>
            <a:r>
              <a:rPr lang="en" sz="2000" dirty="0">
                <a:solidFill>
                  <a:schemeClr val="bg1"/>
                </a:solidFill>
                <a:latin typeface="Verdana" panose="020B0604030504040204" pitchFamily="34" charset="0"/>
              </a:rPr>
              <a:t>State Statistics Service (Rosstat)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5B26712E-F177-3EC8-F504-A8CA16898A02}"/>
              </a:ext>
            </a:extLst>
          </p:cNvPr>
          <p:cNvSpPr txBox="1">
            <a:spLocks/>
          </p:cNvSpPr>
          <p:nvPr/>
        </p:nvSpPr>
        <p:spPr>
          <a:xfrm>
            <a:off x="1242874" y="3181694"/>
            <a:ext cx="4474346" cy="715603"/>
          </a:xfrm>
          <a:prstGeom prst="rect">
            <a:avLst/>
          </a:prstGeom>
          <a:solidFill>
            <a:srgbClr val="2E35AD"/>
          </a:solidFill>
          <a:ln w="3175">
            <a:noFill/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latin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>
                <a:solidFill>
                  <a:schemeClr val="bg1"/>
                </a:solidFill>
              </a:rPr>
              <a:t>Elena and Gennady </a:t>
            </a:r>
            <a:r>
              <a:rPr lang="en-US" dirty="0" err="1">
                <a:solidFill>
                  <a:schemeClr val="bg1"/>
                </a:solidFill>
              </a:rPr>
              <a:t>Timchenko</a:t>
            </a:r>
            <a:r>
              <a:rPr lang="en-US" dirty="0">
                <a:solidFill>
                  <a:schemeClr val="bg1"/>
                </a:solidFill>
              </a:rPr>
              <a:t> Charitable Foundation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6D18DE00-B8BC-2D25-FC8C-D4DC1EBBE7E9}"/>
              </a:ext>
            </a:extLst>
          </p:cNvPr>
          <p:cNvSpPr txBox="1">
            <a:spLocks/>
          </p:cNvSpPr>
          <p:nvPr/>
        </p:nvSpPr>
        <p:spPr>
          <a:xfrm>
            <a:off x="6479011" y="2000406"/>
            <a:ext cx="4474346" cy="951370"/>
          </a:xfrm>
          <a:prstGeom prst="rect">
            <a:avLst/>
          </a:prstGeom>
          <a:solidFill>
            <a:srgbClr val="2E35AD"/>
          </a:solidFill>
          <a:ln w="3175">
            <a:noFill/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latin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" dirty="0">
                <a:solidFill>
                  <a:schemeClr val="bg1"/>
                </a:solidFill>
              </a:rPr>
              <a:t>Faculty of Economics, </a:t>
            </a:r>
            <a:r>
              <a:rPr lang="en-US" sz="2000" dirty="0">
                <a:solidFill>
                  <a:schemeClr val="bg1"/>
                </a:solidFill>
                <a:latin typeface="+mn-lt"/>
              </a:rPr>
              <a:t>Lomonosov Moscow State University</a:t>
            </a:r>
            <a:endParaRPr lang="en" dirty="0">
              <a:solidFill>
                <a:schemeClr val="bg1"/>
              </a:solidFill>
            </a:endParaRP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02835FB6-F7DF-D090-003F-F2CC49B909D7}"/>
              </a:ext>
            </a:extLst>
          </p:cNvPr>
          <p:cNvSpPr txBox="1">
            <a:spLocks/>
          </p:cNvSpPr>
          <p:nvPr/>
        </p:nvSpPr>
        <p:spPr>
          <a:xfrm>
            <a:off x="6479013" y="3181689"/>
            <a:ext cx="4474346" cy="715603"/>
          </a:xfrm>
          <a:prstGeom prst="rect">
            <a:avLst/>
          </a:prstGeom>
          <a:solidFill>
            <a:srgbClr val="2E35AD"/>
          </a:solidFill>
          <a:ln w="3175">
            <a:noFill/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>
                <a:latin typeface="Verdana" panose="020B060403050404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" dirty="0">
                <a:solidFill>
                  <a:schemeClr val="bg1"/>
                </a:solidFill>
              </a:rPr>
              <a:t>Institute for Social Analysis and Forecasting RANEPA</a:t>
            </a:r>
          </a:p>
        </p:txBody>
      </p:sp>
      <p:sp>
        <p:nvSpPr>
          <p:cNvPr id="3" name="Объект 6">
            <a:extLst>
              <a:ext uri="{FF2B5EF4-FFF2-40B4-BE49-F238E27FC236}">
                <a16:creationId xmlns:a16="http://schemas.microsoft.com/office/drawing/2014/main" id="{DD31138E-C4D8-5730-A0BC-54200E375BE0}"/>
              </a:ext>
            </a:extLst>
          </p:cNvPr>
          <p:cNvSpPr txBox="1">
            <a:spLocks/>
          </p:cNvSpPr>
          <p:nvPr/>
        </p:nvSpPr>
        <p:spPr>
          <a:xfrm>
            <a:off x="869514" y="4238524"/>
            <a:ext cx="10325986" cy="17547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" sz="1600" dirty="0"/>
              <a:t>Ministry of Education of the Russian Federation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" sz="1600" dirty="0"/>
              <a:t>Civic Chamber of the Russian Federation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" sz="1600" dirty="0"/>
              <a:t>Commissioner for Children's Rights</a:t>
            </a:r>
            <a:endParaRPr lang="ru-RU" sz="1600" dirty="0"/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" sz="1600" dirty="0"/>
              <a:t>Agency for Strategic Initiatives </a:t>
            </a:r>
          </a:p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Moscow State University of Psychology &amp; Education</a:t>
            </a:r>
            <a:endParaRPr lang="ru-RU" sz="3600" dirty="0">
              <a:latin typeface="Verdan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1848" y="6081192"/>
            <a:ext cx="1187557" cy="719511"/>
          </a:xfrm>
          <a:prstGeom prst="rect">
            <a:avLst/>
          </a:prstGeom>
        </p:spPr>
      </p:pic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CC586BE9-C242-CB10-22C5-73226A3EB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4530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7572651" y="0"/>
            <a:ext cx="4619349" cy="6858000"/>
          </a:xfrm>
          <a:prstGeom prst="rect">
            <a:avLst/>
          </a:prstGeom>
          <a:solidFill>
            <a:srgbClr val="BDCCEA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05E275BD-00DD-FECB-0B57-D56824D2E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583" y="1752386"/>
            <a:ext cx="6463460" cy="4969091"/>
          </a:xfrm>
        </p:spPr>
        <p:txBody>
          <a:bodyPr>
            <a:normAutofit/>
          </a:bodyPr>
          <a:lstStyle/>
          <a:p>
            <a:pPr algn="just"/>
            <a:r>
              <a:rPr lang="en" sz="2000" dirty="0">
                <a:latin typeface="+mn-lt"/>
              </a:rPr>
              <a:t>27 indicators based on official statistics and sample surveys published by Rosstat. Developed at the regional level</a:t>
            </a:r>
          </a:p>
          <a:p>
            <a:pPr algn="just"/>
            <a:r>
              <a:rPr lang="en" sz="2000" dirty="0">
                <a:latin typeface="+mn-lt"/>
              </a:rPr>
              <a:t>16 “positive” indicators measuring progress in child well-being and 11 “negative” indicators measuring failures in child well-being (the inverse values are when </a:t>
            </a:r>
            <a:r>
              <a:rPr lang="en-US" sz="2000" dirty="0">
                <a:latin typeface="+mn-lt"/>
              </a:rPr>
              <a:t>when evaluating the position of the region</a:t>
            </a:r>
            <a:r>
              <a:rPr lang="en" sz="2000" dirty="0">
                <a:latin typeface="+mn-lt"/>
              </a:rPr>
              <a:t>)</a:t>
            </a:r>
          </a:p>
          <a:p>
            <a:pPr algn="just"/>
            <a:r>
              <a:rPr lang="en" sz="2000" dirty="0">
                <a:latin typeface="+mn-lt"/>
              </a:rPr>
              <a:t>An index (sub-index) </a:t>
            </a:r>
            <a:r>
              <a:rPr lang="en-US" sz="2000" dirty="0">
                <a:latin typeface="+mn-lt"/>
              </a:rPr>
              <a:t>exceeding </a:t>
            </a:r>
            <a:r>
              <a:rPr lang="en" sz="2000" dirty="0">
                <a:latin typeface="+mn-lt"/>
              </a:rPr>
              <a:t>zero is good. Less than zero - there is a need for improvement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673162" y="2062463"/>
            <a:ext cx="451883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" sz="2000" dirty="0"/>
              <a:t>We do not assign special weights to different indicators and domains, given that </a:t>
            </a:r>
            <a:r>
              <a:rPr lang="en" sz="2000" b="1" dirty="0"/>
              <a:t>all indicators are equally important for the well-being of children</a:t>
            </a:r>
          </a:p>
          <a:p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The methodology of z-assessments </a:t>
            </a:r>
            <a:r>
              <a:rPr lang="en" sz="2000" dirty="0"/>
              <a:t>- an indicator of deviation from the average (average Russian values of indicators)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5779468-B261-455A-E203-ACC44162E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006A04B-EE5F-20F7-032B-C987F2BA5B48}"/>
              </a:ext>
            </a:extLst>
          </p:cNvPr>
          <p:cNvSpPr/>
          <p:nvPr/>
        </p:nvSpPr>
        <p:spPr>
          <a:xfrm>
            <a:off x="456151" y="355877"/>
            <a:ext cx="78191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atistical </a:t>
            </a:r>
            <a:r>
              <a:rPr lang="en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dex of child well-being</a:t>
            </a:r>
          </a:p>
        </p:txBody>
      </p:sp>
    </p:spTree>
    <p:extLst>
      <p:ext uri="{BB962C8B-B14F-4D97-AF65-F5344CB8AC3E}">
        <p14:creationId xmlns:p14="http://schemas.microsoft.com/office/powerpoint/2010/main" val="7844014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8006316" y="0"/>
            <a:ext cx="4185684" cy="6858000"/>
          </a:xfrm>
          <a:prstGeom prst="rect">
            <a:avLst/>
          </a:prstGeom>
          <a:solidFill>
            <a:srgbClr val="BDCCEA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F8F8DA-F479-B2F8-0CD1-B7AD4D508657}"/>
              </a:ext>
            </a:extLst>
          </p:cNvPr>
          <p:cNvSpPr txBox="1">
            <a:spLocks/>
          </p:cNvSpPr>
          <p:nvPr/>
        </p:nvSpPr>
        <p:spPr>
          <a:xfrm>
            <a:off x="612559" y="6314728"/>
            <a:ext cx="109017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dirty="0">
                <a:latin typeface="Bahnschrift SemiLight SemiConde" panose="020B0502040204020203" pitchFamily="34" charset="0"/>
              </a:rPr>
              <a:t>Source: calculated by the authors based on Rosstat data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B5F7A91B-9E32-080B-7F68-02568EF16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91963" y="1830591"/>
            <a:ext cx="4176052" cy="3806864"/>
          </a:xfrm>
        </p:spPr>
        <p:txBody>
          <a:bodyPr>
            <a:normAutofit/>
          </a:bodyPr>
          <a:lstStyle/>
          <a:p>
            <a:r>
              <a:rPr lang="en" sz="2000" dirty="0"/>
              <a:t>The value of the Statistical index </a:t>
            </a:r>
            <a:r>
              <a:rPr lang="en-US" sz="2000" dirty="0"/>
              <a:t>child well-being </a:t>
            </a:r>
            <a:r>
              <a:rPr lang="en" sz="2000" dirty="0"/>
              <a:t>in 2020 = </a:t>
            </a:r>
            <a:r>
              <a:rPr lang="en" sz="2000" b="1" dirty="0">
                <a:solidFill>
                  <a:srgbClr val="2E35AD"/>
                </a:solidFill>
              </a:rPr>
              <a:t>0.71</a:t>
            </a:r>
            <a:r>
              <a:rPr lang="en" sz="2000" dirty="0">
                <a:solidFill>
                  <a:srgbClr val="2E35AD"/>
                </a:solidFill>
              </a:rPr>
              <a:t> </a:t>
            </a:r>
            <a:r>
              <a:rPr lang="en" sz="2000" dirty="0"/>
              <a:t>(</a:t>
            </a:r>
            <a:r>
              <a:rPr lang="en" sz="2000" i="1" dirty="0"/>
              <a:t>the position of the region is better than the average Russian level</a:t>
            </a:r>
            <a:r>
              <a:rPr lang="en" sz="2000" dirty="0"/>
              <a:t>)</a:t>
            </a:r>
          </a:p>
          <a:p>
            <a:pPr marL="0" indent="0">
              <a:buNone/>
            </a:pPr>
            <a:endParaRPr lang="ru-RU" sz="2000" dirty="0"/>
          </a:p>
          <a:p>
            <a:r>
              <a:rPr lang="en" sz="2000" dirty="0"/>
              <a:t>However, for individual domains, the region may fall behind</a:t>
            </a:r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91E87605-0396-24C2-7832-6B7FB6613201}"/>
              </a:ext>
            </a:extLst>
          </p:cNvPr>
          <p:cNvCxnSpPr>
            <a:cxnSpLocks/>
          </p:cNvCxnSpPr>
          <p:nvPr/>
        </p:nvCxnSpPr>
        <p:spPr>
          <a:xfrm>
            <a:off x="612559" y="6314728"/>
            <a:ext cx="651621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FB0B2B7-84C0-7F25-57BB-4B0D4A40F3FC}"/>
              </a:ext>
            </a:extLst>
          </p:cNvPr>
          <p:cNvSpPr txBox="1">
            <a:spLocks/>
          </p:cNvSpPr>
          <p:nvPr/>
        </p:nvSpPr>
        <p:spPr>
          <a:xfrm>
            <a:off x="220052" y="180753"/>
            <a:ext cx="9438989" cy="14690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000" b="1" dirty="0">
              <a:solidFill>
                <a:srgbClr val="2E35AD"/>
              </a:solidFill>
              <a:latin typeface="Verdana" panose="020B060403050404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88CE74F-2F6F-5F7B-9452-1BA4933F1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9BE7852-8F05-0175-C9E4-AA58E09D221C}"/>
              </a:ext>
            </a:extLst>
          </p:cNvPr>
          <p:cNvSpPr/>
          <p:nvPr/>
        </p:nvSpPr>
        <p:spPr>
          <a:xfrm>
            <a:off x="456151" y="355877"/>
            <a:ext cx="77963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atistical </a:t>
            </a:r>
            <a:r>
              <a:rPr lang="en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dex of child well-being</a:t>
            </a:r>
          </a:p>
          <a:p>
            <a:r>
              <a:rPr lang="en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b-indices by domains. </a:t>
            </a:r>
            <a:r>
              <a:rPr lang="ru-RU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scow, 2020</a:t>
            </a: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B3E8F489-A11D-047A-72CA-EC44E67C6E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3817350"/>
              </p:ext>
            </p:extLst>
          </p:nvPr>
        </p:nvGraphicFramePr>
        <p:xfrm>
          <a:off x="437964" y="1777982"/>
          <a:ext cx="6865399" cy="4007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3224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130FD9E-825A-4836-2DDC-20C454EE3996}"/>
              </a:ext>
            </a:extLst>
          </p:cNvPr>
          <p:cNvSpPr txBox="1">
            <a:spLocks/>
          </p:cNvSpPr>
          <p:nvPr/>
        </p:nvSpPr>
        <p:spPr>
          <a:xfrm>
            <a:off x="587513" y="6261537"/>
            <a:ext cx="1090177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400" dirty="0">
                <a:latin typeface="Bahnschrift SemiLight SemiConde" panose="020B0502040204020203" pitchFamily="34" charset="0"/>
              </a:rPr>
              <a:t>Source: calculated by the authors based on Rosstat data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71E4311B-AEE1-97FD-733D-C72613436830}"/>
              </a:ext>
            </a:extLst>
          </p:cNvPr>
          <p:cNvCxnSpPr>
            <a:cxnSpLocks/>
          </p:cNvCxnSpPr>
          <p:nvPr/>
        </p:nvCxnSpPr>
        <p:spPr>
          <a:xfrm>
            <a:off x="587513" y="6261537"/>
            <a:ext cx="46474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23283" y="5607910"/>
            <a:ext cx="549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1400" i="1" dirty="0"/>
              <a:t>z-</a:t>
            </a:r>
            <a:r>
              <a:rPr lang="en-US" sz="1400" i="1" dirty="0"/>
              <a:t>assessments </a:t>
            </a:r>
            <a:r>
              <a:rPr lang="en" sz="1400" i="1" dirty="0"/>
              <a:t>for indicators of the domain "Development"</a:t>
            </a:r>
            <a:endParaRPr lang="en-US" sz="1400" i="1" dirty="0"/>
          </a:p>
          <a:p>
            <a:r>
              <a:rPr lang="en" sz="1400" i="1" dirty="0"/>
              <a:t>Statistical index of child well-being, Moscow, 2020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B8B817B-AF7A-AFA1-7A9D-A1B2AB0C79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8A24071-3E80-A9B9-14D7-401885FEB96F}"/>
              </a:ext>
            </a:extLst>
          </p:cNvPr>
          <p:cNvSpPr/>
          <p:nvPr/>
        </p:nvSpPr>
        <p:spPr>
          <a:xfrm>
            <a:off x="456151" y="355877"/>
            <a:ext cx="1173584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i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tatistical </a:t>
            </a:r>
            <a:r>
              <a:rPr lang="en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dex of child well-being </a:t>
            </a:r>
            <a:r>
              <a:rPr lang="ru-RU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" sz="1600" b="1" dirty="0" err="1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b-index </a:t>
            </a:r>
            <a:r>
              <a:rPr lang="en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"Development" </a:t>
            </a:r>
            <a:r>
              <a:rPr lang="ru-RU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" sz="16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scow, 2020</a:t>
            </a:r>
          </a:p>
        </p:txBody>
      </p:sp>
      <p:graphicFrame>
        <p:nvGraphicFramePr>
          <p:cNvPr id="2" name="Диаграмма 1">
            <a:extLst>
              <a:ext uri="{FF2B5EF4-FFF2-40B4-BE49-F238E27FC236}">
                <a16:creationId xmlns:a16="http://schemas.microsoft.com/office/drawing/2014/main" id="{BD3885D7-9579-4FB1-AC7F-863E863E73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1912599"/>
              </p:ext>
            </p:extLst>
          </p:nvPr>
        </p:nvGraphicFramePr>
        <p:xfrm>
          <a:off x="-291113" y="1030711"/>
          <a:ext cx="12086873" cy="4577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8B751146-BD77-921E-7581-A019165248D3}"/>
              </a:ext>
            </a:extLst>
          </p:cNvPr>
          <p:cNvSpPr txBox="1"/>
          <p:nvPr/>
        </p:nvSpPr>
        <p:spPr>
          <a:xfrm>
            <a:off x="587513" y="6502123"/>
            <a:ext cx="62407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Bahnschrift SemiLight SemiConde" panose="020B0502040204020203" pitchFamily="34" charset="0"/>
              </a:rPr>
              <a:t>*</a:t>
            </a:r>
            <a:r>
              <a:rPr lang="ru-RU" sz="1200" dirty="0">
                <a:latin typeface="Bahnschrift SemiLight SemiConde" panose="020B0502040204020203" pitchFamily="34" charset="0"/>
              </a:rPr>
              <a:t>Federal State </a:t>
            </a:r>
            <a:r>
              <a:rPr lang="ru-RU" sz="1200" dirty="0" err="1">
                <a:latin typeface="Bahnschrift SemiLight SemiConde" panose="020B0502040204020203" pitchFamily="34" charset="0"/>
              </a:rPr>
              <a:t>Educational</a:t>
            </a:r>
            <a:r>
              <a:rPr lang="ru-RU" sz="1200" dirty="0">
                <a:latin typeface="Bahnschrift SemiLight SemiConde" panose="020B0502040204020203" pitchFamily="34" charset="0"/>
              </a:rPr>
              <a:t> Standard</a:t>
            </a:r>
          </a:p>
        </p:txBody>
      </p:sp>
    </p:spTree>
    <p:extLst>
      <p:ext uri="{BB962C8B-B14F-4D97-AF65-F5344CB8AC3E}">
        <p14:creationId xmlns:p14="http://schemas.microsoft.com/office/powerpoint/2010/main" val="3368129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B839A515-7FC8-9936-234E-0A7BAA24B3AB}"/>
              </a:ext>
            </a:extLst>
          </p:cNvPr>
          <p:cNvSpPr/>
          <p:nvPr/>
        </p:nvSpPr>
        <p:spPr>
          <a:xfrm>
            <a:off x="7572651" y="0"/>
            <a:ext cx="4619349" cy="6858000"/>
          </a:xfrm>
          <a:prstGeom prst="rect">
            <a:avLst/>
          </a:prstGeom>
          <a:solidFill>
            <a:srgbClr val="2E35AD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l"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14DED4-912E-72BD-08A5-4E167F93C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837" y="301332"/>
            <a:ext cx="7114953" cy="1325563"/>
          </a:xfrm>
        </p:spPr>
        <p:txBody>
          <a:bodyPr>
            <a:normAutofit/>
          </a:bodyPr>
          <a:lstStyle/>
          <a:p>
            <a:r>
              <a:rPr lang="en" b="1" i="1" dirty="0">
                <a:solidFill>
                  <a:srgbClr val="2E35AD"/>
                </a:solidFill>
                <a:latin typeface="+mj-lt"/>
              </a:rPr>
              <a:t>Subjective </a:t>
            </a:r>
            <a:r>
              <a:rPr lang="en" b="1" dirty="0">
                <a:solidFill>
                  <a:srgbClr val="2E35AD"/>
                </a:solidFill>
                <a:latin typeface="+mj-lt"/>
              </a:rPr>
              <a:t>index of child well-being</a:t>
            </a:r>
            <a:endParaRPr lang="ru-RU" dirty="0">
              <a:solidFill>
                <a:srgbClr val="2E35AD"/>
              </a:solidFill>
              <a:latin typeface="+mj-lt"/>
            </a:endParaRP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05E275BD-00DD-FECB-0B57-D56824D2E0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4043" y="1752386"/>
            <a:ext cx="6463460" cy="4969091"/>
          </a:xfrm>
        </p:spPr>
        <p:txBody>
          <a:bodyPr>
            <a:normAutofit/>
          </a:bodyPr>
          <a:lstStyle/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" sz="2000" b="1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is calculated </a:t>
            </a:r>
            <a:r>
              <a:rPr lang="en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on the basis of adolescents</a:t>
            </a:r>
            <a:r>
              <a:rPr lang="en-US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’</a:t>
            </a:r>
            <a:r>
              <a:rPr lang="en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 responses to the questionnaire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" sz="2000" b="1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reflects </a:t>
            </a:r>
            <a:r>
              <a:rPr lang="en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the personal opinion of adolescents about their own well-being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" sz="2000" b="1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is </a:t>
            </a:r>
            <a:r>
              <a:rPr lang="en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an integral index that combines 18 indicators of well-being</a:t>
            </a:r>
          </a:p>
          <a:p>
            <a:pPr marL="342900" indent="-342900" algn="just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" sz="2000" b="1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takes into account </a:t>
            </a:r>
            <a:r>
              <a:rPr lang="en" sz="2000" dirty="0">
                <a:solidFill>
                  <a:srgbClr val="101820"/>
                </a:solidFill>
                <a:latin typeface="+mn-lt"/>
                <a:cs typeface="Arial" panose="020B0604020202020204" pitchFamily="34" charset="0"/>
              </a:rPr>
              <a:t>the state of children's well-being in 6 areas of their lives (domains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696200" y="1752386"/>
            <a:ext cx="4305300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llows:</a:t>
            </a:r>
            <a:r>
              <a:rPr lang="en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 measure </a:t>
            </a:r>
            <a:r>
              <a:rPr lang="en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hild well-being both in the region as a whole and in selected municipalities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 assess </a:t>
            </a:r>
            <a:r>
              <a:rPr lang="en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dynamics of the level of children's well-being in general and in certain areas of life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 describe </a:t>
            </a:r>
            <a:r>
              <a:rPr lang="en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characteristics of the well-being of certain groups of adolesc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5591DA9-5CEF-25B6-74EF-2DD0650F8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B06CD-5494-41BD-83B1-4871ACE70290}" type="slidenum">
              <a:rPr lang="ru-RU">
                <a:ea typeface="Verdana" panose="020B0604030504040204" pitchFamily="34" charset="0"/>
                <a:cs typeface="Arial" panose="020B0604020202020204" pitchFamily="34" charset="0"/>
              </a:rPr>
              <a:pPr/>
              <a:t>7</a:t>
            </a:fld>
            <a:endParaRPr lang="ru-RU" dirty="0"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1720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TextBox 325">
            <a:extLst>
              <a:ext uri="{FF2B5EF4-FFF2-40B4-BE49-F238E27FC236}">
                <a16:creationId xmlns:a16="http://schemas.microsoft.com/office/drawing/2014/main" id="{CEC26974-529F-4F1F-A4CB-95A74D00727E}"/>
              </a:ext>
            </a:extLst>
          </p:cNvPr>
          <p:cNvSpPr txBox="1"/>
          <p:nvPr/>
        </p:nvSpPr>
        <p:spPr>
          <a:xfrm>
            <a:off x="8461711" y="1348154"/>
            <a:ext cx="27403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4 . 1.  EDUCATION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Interested in lessons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Like learning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Additional classes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B72E017E-343F-4911-93DF-E1DD20B5FD7F}"/>
              </a:ext>
            </a:extLst>
          </p:cNvPr>
          <p:cNvSpPr txBox="1"/>
          <p:nvPr/>
        </p:nvSpPr>
        <p:spPr>
          <a:xfrm>
            <a:off x="786022" y="4886159"/>
            <a:ext cx="3408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3 . SAFETY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Safe at school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Safe on the street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Safe at home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7B6D5341-D875-48B2-88BE-3997EF4E8AEA}"/>
              </a:ext>
            </a:extLst>
          </p:cNvPr>
          <p:cNvSpPr txBox="1"/>
          <p:nvPr/>
        </p:nvSpPr>
        <p:spPr>
          <a:xfrm>
            <a:off x="8461711" y="4815547"/>
            <a:ext cx="29032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4.3 . SELF-REALIZATION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Satisfied with life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Will achieve a lot in life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There are achievements and successes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7B9A6C67-51A6-42EC-8636-87DCD7E5ECD2}"/>
              </a:ext>
            </a:extLst>
          </p:cNvPr>
          <p:cNvSpPr txBox="1"/>
          <p:nvPr/>
        </p:nvSpPr>
        <p:spPr>
          <a:xfrm>
            <a:off x="786022" y="1377121"/>
            <a:ext cx="300282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1 . HEALTH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No health restrictions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Sports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Eats well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3AE2EB68-81BC-4A43-AF6D-A198AFE68645}"/>
              </a:ext>
            </a:extLst>
          </p:cNvPr>
          <p:cNvSpPr txBox="1"/>
          <p:nvPr/>
        </p:nvSpPr>
        <p:spPr>
          <a:xfrm>
            <a:off x="786022" y="2863905"/>
            <a:ext cx="2856533" cy="1590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2 . MATERIAL</a:t>
            </a:r>
          </a:p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     WELL-BEING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High assessment of material situation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Have personal items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Traveled somewhere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03AC8634-65B0-4CE1-A87A-702C48EEC8FB}"/>
              </a:ext>
            </a:extLst>
          </p:cNvPr>
          <p:cNvSpPr txBox="1"/>
          <p:nvPr/>
        </p:nvSpPr>
        <p:spPr>
          <a:xfrm>
            <a:off x="8461711" y="2943690"/>
            <a:ext cx="2788675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4.2 . SOCIAL</a:t>
            </a:r>
          </a:p>
          <a:p>
            <a:pPr>
              <a:spcAft>
                <a:spcPts val="400"/>
              </a:spcAft>
              <a:defRPr/>
            </a:pPr>
            <a:r>
              <a:rPr lang="en" sz="1400" b="1" dirty="0">
                <a:solidFill>
                  <a:srgbClr val="2E35AD"/>
                </a:solidFill>
                <a:ea typeface="+mj-ea"/>
                <a:cs typeface="Arial" panose="020B0604020202020204" pitchFamily="34" charset="0"/>
              </a:rPr>
              <a:t>        RELATIONSHIP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Classmates treat good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Have close friends</a:t>
            </a:r>
          </a:p>
          <a:p>
            <a:pPr marL="335992" indent="-287993" defTabSz="914377">
              <a:spcAft>
                <a:spcPts val="4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" sz="1400" dirty="0">
                <a:solidFill>
                  <a:srgbClr val="2E35AD"/>
                </a:solidFill>
                <a:cs typeface="Arial" panose="020B0604020202020204" pitchFamily="34" charset="0"/>
              </a:rPr>
              <a:t>Adults are listening</a:t>
            </a:r>
          </a:p>
        </p:txBody>
      </p:sp>
      <mc:AlternateContent xmlns:mc="http://schemas.openxmlformats.org/markup-compatibility/2006">
        <mc:Choice xmlns:p14="http://schemas.microsoft.com/office/powerpoint/2010/main" xmlns:aink="http://schemas.microsoft.com/office/drawing/2016/ink" xmlns="" Requires="p14 aink">
          <p:contentPart p14:bwMode="auto" r:id="rId73">
            <p14:nvContentPartPr>
              <p14:cNvPr id="11" name="Рукописный ввод 10">
                <a:extLst>
                  <a:ext uri="{FF2B5EF4-FFF2-40B4-BE49-F238E27FC236}">
                    <a16:creationId xmlns:a16="http://schemas.microsoft.com/office/drawing/2014/main" id="{5911F3C7-D03A-5E42-84F6-EB90894E91E6}"/>
                  </a:ext>
                </a:extLst>
              </p14:cNvPr>
              <p14:cNvContentPartPr/>
              <p14:nvPr/>
            </p14:nvContentPartPr>
            <p14:xfrm>
              <a:off x="6647559" y="2961482"/>
              <a:ext cx="8640" cy="13320"/>
            </p14:xfrm>
          </p:contentPart>
        </mc:Choice>
        <mc:Fallback>
          <p:pic>
            <p:nvPicPr>
              <p:cNvPr id="11" name="Рукописный ввод 10">
                <a:extLst>
                  <a:ext uri="{FF2B5EF4-FFF2-40B4-BE49-F238E27FC236}">
                    <a16:creationId xmlns:a16="http://schemas.microsoft.com/office/drawing/2014/main" id="{5911F3C7-D03A-5E42-84F6-EB90894E91E6}"/>
                  </a:ext>
                </a:extLst>
              </p:cNvPr>
              <p:cNvPicPr/>
              <p:nvPr/>
            </p:nvPicPr>
            <p:blipFill>
              <a:blip r:embed="rId74"/>
              <a:stretch>
                <a:fillRect/>
              </a:stretch>
            </p:blipFill>
            <p:spPr>
              <a:xfrm>
                <a:off x="6629559" y="2853482"/>
                <a:ext cx="44280" cy="228960"/>
              </a:xfrm>
              <a:prstGeom prst="rect">
                <a:avLst/>
              </a:prstGeom>
            </p:spPr>
          </p:pic>
        </mc:Fallback>
      </mc:AlternateContent>
      <p:sp>
        <p:nvSpPr>
          <p:cNvPr id="72" name="TextBox 71">
            <a:extLst>
              <a:ext uri="{FF2B5EF4-FFF2-40B4-BE49-F238E27FC236}">
                <a16:creationId xmlns:a16="http://schemas.microsoft.com/office/drawing/2014/main" id="{18FB3220-5F3C-A448-ABAD-B504CE964AE5}"/>
              </a:ext>
            </a:extLst>
          </p:cNvPr>
          <p:cNvSpPr txBox="1"/>
          <p:nvPr/>
        </p:nvSpPr>
        <p:spPr>
          <a:xfrm rot="16200000">
            <a:off x="11074361" y="3671559"/>
            <a:ext cx="15792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73" name="Закрывающая фигурная скобка 72">
            <a:extLst>
              <a:ext uri="{FF2B5EF4-FFF2-40B4-BE49-F238E27FC236}">
                <a16:creationId xmlns:a16="http://schemas.microsoft.com/office/drawing/2014/main" id="{A939AC23-562A-0148-A64E-CFD375C52A1D}"/>
              </a:ext>
            </a:extLst>
          </p:cNvPr>
          <p:cNvSpPr/>
          <p:nvPr/>
        </p:nvSpPr>
        <p:spPr>
          <a:xfrm>
            <a:off x="10820401" y="1605935"/>
            <a:ext cx="803564" cy="452316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07D4F29E-89E8-41B0-71DA-AE24080760A8}"/>
              </a:ext>
            </a:extLst>
          </p:cNvPr>
          <p:cNvGrpSpPr/>
          <p:nvPr/>
        </p:nvGrpSpPr>
        <p:grpSpPr>
          <a:xfrm>
            <a:off x="3788631" y="1426704"/>
            <a:ext cx="4392847" cy="4859042"/>
            <a:chOff x="3788631" y="1426704"/>
            <a:chExt cx="4392847" cy="4859042"/>
          </a:xfrm>
        </p:grpSpPr>
        <p:sp>
          <p:nvSpPr>
            <p:cNvPr id="329" name="Children_playing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FDE8B11-DE0E-8041-8258-40C18F4A714E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5544092" y="3541412"/>
              <a:ext cx="872425" cy="723900"/>
            </a:xfrm>
            <a:custGeom>
              <a:avLst/>
              <a:gdLst>
                <a:gd name="T0" fmla="*/ 16092 w 19875"/>
                <a:gd name="T1" fmla="*/ 5500 h 16460"/>
                <a:gd name="T2" fmla="*/ 18273 w 19875"/>
                <a:gd name="T3" fmla="*/ 5470 h 16460"/>
                <a:gd name="T4" fmla="*/ 16766 w 19875"/>
                <a:gd name="T5" fmla="*/ 6598 h 16460"/>
                <a:gd name="T6" fmla="*/ 18710 w 19875"/>
                <a:gd name="T7" fmla="*/ 8848 h 16460"/>
                <a:gd name="T8" fmla="*/ 17694 w 19875"/>
                <a:gd name="T9" fmla="*/ 10306 h 16460"/>
                <a:gd name="T10" fmla="*/ 15751 w 19875"/>
                <a:gd name="T11" fmla="*/ 11450 h 16460"/>
                <a:gd name="T12" fmla="*/ 15020 w 19875"/>
                <a:gd name="T13" fmla="*/ 14842 h 16460"/>
                <a:gd name="T14" fmla="*/ 16922 w 19875"/>
                <a:gd name="T15" fmla="*/ 15531 h 16460"/>
                <a:gd name="T16" fmla="*/ 18446 w 19875"/>
                <a:gd name="T17" fmla="*/ 13069 h 16460"/>
                <a:gd name="T18" fmla="*/ 3300 w 19875"/>
                <a:gd name="T19" fmla="*/ 16439 h 16460"/>
                <a:gd name="T20" fmla="*/ 1171 w 19875"/>
                <a:gd name="T21" fmla="*/ 15957 h 16460"/>
                <a:gd name="T22" fmla="*/ 3957 w 19875"/>
                <a:gd name="T23" fmla="*/ 12446 h 16460"/>
                <a:gd name="T24" fmla="*/ 4171 w 19875"/>
                <a:gd name="T25" fmla="*/ 15820 h 16460"/>
                <a:gd name="T26" fmla="*/ 6693 w 19875"/>
                <a:gd name="T27" fmla="*/ 15975 h 16460"/>
                <a:gd name="T28" fmla="*/ 8813 w 19875"/>
                <a:gd name="T29" fmla="*/ 16151 h 16460"/>
                <a:gd name="T30" fmla="*/ 10979 w 19875"/>
                <a:gd name="T31" fmla="*/ 15435 h 16460"/>
                <a:gd name="T32" fmla="*/ 13087 w 19875"/>
                <a:gd name="T33" fmla="*/ 13233 h 16460"/>
                <a:gd name="T34" fmla="*/ 12397 w 19875"/>
                <a:gd name="T35" fmla="*/ 10792 h 16460"/>
                <a:gd name="T36" fmla="*/ 11254 w 19875"/>
                <a:gd name="T37" fmla="*/ 8548 h 16460"/>
                <a:gd name="T38" fmla="*/ 8053 w 19875"/>
                <a:gd name="T39" fmla="*/ 11305 h 16460"/>
                <a:gd name="T40" fmla="*/ 5833 w 19875"/>
                <a:gd name="T41" fmla="*/ 9991 h 16460"/>
                <a:gd name="T42" fmla="*/ 7843 w 19875"/>
                <a:gd name="T43" fmla="*/ 7766 h 16460"/>
                <a:gd name="T44" fmla="*/ 7071 w 19875"/>
                <a:gd name="T45" fmla="*/ 6749 h 16460"/>
                <a:gd name="T46" fmla="*/ 7045 w 19875"/>
                <a:gd name="T47" fmla="*/ 5471 h 16460"/>
                <a:gd name="T48" fmla="*/ 4753 w 19875"/>
                <a:gd name="T49" fmla="*/ 6810 h 16460"/>
                <a:gd name="T50" fmla="*/ 6556 w 19875"/>
                <a:gd name="T51" fmla="*/ 4847 h 16460"/>
                <a:gd name="T52" fmla="*/ 7468 w 19875"/>
                <a:gd name="T53" fmla="*/ 3353 h 16460"/>
                <a:gd name="T54" fmla="*/ 9573 w 19875"/>
                <a:gd name="T55" fmla="*/ 3920 h 16460"/>
                <a:gd name="T56" fmla="*/ 6426 w 19875"/>
                <a:gd name="T57" fmla="*/ 2134 h 16460"/>
                <a:gd name="T58" fmla="*/ 8262 w 19875"/>
                <a:gd name="T59" fmla="*/ 822 h 16460"/>
                <a:gd name="T60" fmla="*/ 9483 w 19875"/>
                <a:gd name="T61" fmla="*/ 1455 h 16460"/>
                <a:gd name="T62" fmla="*/ 11236 w 19875"/>
                <a:gd name="T63" fmla="*/ 527 h 16460"/>
                <a:gd name="T64" fmla="*/ 11205 w 19875"/>
                <a:gd name="T65" fmla="*/ 2708 h 16460"/>
                <a:gd name="T66" fmla="*/ 12563 w 19875"/>
                <a:gd name="T67" fmla="*/ 3749 h 16460"/>
                <a:gd name="T68" fmla="*/ 12507 w 19875"/>
                <a:gd name="T69" fmla="*/ 1476 h 16460"/>
                <a:gd name="T70" fmla="*/ 14914 w 19875"/>
                <a:gd name="T71" fmla="*/ 743 h 16460"/>
                <a:gd name="T72" fmla="*/ 13557 w 19875"/>
                <a:gd name="T73" fmla="*/ 2824 h 16460"/>
                <a:gd name="T74" fmla="*/ 15378 w 19875"/>
                <a:gd name="T75" fmla="*/ 3060 h 16460"/>
                <a:gd name="T76" fmla="*/ 16369 w 19875"/>
                <a:gd name="T77" fmla="*/ 822 h 16460"/>
                <a:gd name="T78" fmla="*/ 18450 w 19875"/>
                <a:gd name="T79" fmla="*/ 1827 h 16460"/>
                <a:gd name="T80" fmla="*/ 18140 w 19875"/>
                <a:gd name="T81" fmla="*/ 3357 h 16460"/>
                <a:gd name="T82" fmla="*/ 16331 w 19875"/>
                <a:gd name="T83" fmla="*/ 3663 h 16460"/>
                <a:gd name="T84" fmla="*/ 15231 w 19875"/>
                <a:gd name="T85" fmla="*/ 8499 h 16460"/>
                <a:gd name="T86" fmla="*/ 15870 w 19875"/>
                <a:gd name="T87" fmla="*/ 9959 h 16460"/>
                <a:gd name="T88" fmla="*/ 9478 w 19875"/>
                <a:gd name="T89" fmla="*/ 2256 h 16460"/>
                <a:gd name="T90" fmla="*/ 10456 w 19875"/>
                <a:gd name="T91" fmla="*/ 3534 h 16460"/>
                <a:gd name="T92" fmla="*/ 14351 w 19875"/>
                <a:gd name="T93" fmla="*/ 4600 h 16460"/>
                <a:gd name="T94" fmla="*/ 11667 w 19875"/>
                <a:gd name="T95" fmla="*/ 7146 h 16460"/>
                <a:gd name="T96" fmla="*/ 12070 w 19875"/>
                <a:gd name="T97" fmla="*/ 5227 h 16460"/>
                <a:gd name="T98" fmla="*/ 12376 w 19875"/>
                <a:gd name="T99" fmla="*/ 8670 h 16460"/>
                <a:gd name="T100" fmla="*/ 14600 w 19875"/>
                <a:gd name="T101" fmla="*/ 10214 h 16460"/>
                <a:gd name="T102" fmla="*/ 11551 w 19875"/>
                <a:gd name="T103" fmla="*/ 4486 h 16460"/>
                <a:gd name="T104" fmla="*/ 14600 w 19875"/>
                <a:gd name="T105" fmla="*/ 3770 h 16460"/>
                <a:gd name="T106" fmla="*/ 16292 w 19875"/>
                <a:gd name="T107" fmla="*/ 8083 h 16460"/>
                <a:gd name="T108" fmla="*/ 15141 w 19875"/>
                <a:gd name="T109" fmla="*/ 7208 h 16460"/>
                <a:gd name="T110" fmla="*/ 11466 w 19875"/>
                <a:gd name="T111" fmla="*/ 3835 h 16460"/>
                <a:gd name="T112" fmla="*/ 7651 w 19875"/>
                <a:gd name="T113" fmla="*/ 11926 h 16460"/>
                <a:gd name="T114" fmla="*/ 16417 w 19875"/>
                <a:gd name="T115" fmla="*/ 8951 h 16460"/>
                <a:gd name="T116" fmla="*/ 14597 w 19875"/>
                <a:gd name="T117" fmla="*/ 7231 h 16460"/>
                <a:gd name="T118" fmla="*/ 5405 w 19875"/>
                <a:gd name="T119" fmla="*/ 6114 h 16460"/>
                <a:gd name="T120" fmla="*/ 10208 w 19875"/>
                <a:gd name="T121" fmla="*/ 5898 h 16460"/>
                <a:gd name="T122" fmla="*/ 7186 w 19875"/>
                <a:gd name="T123" fmla="*/ 6608 h 16460"/>
                <a:gd name="T124" fmla="*/ 15359 w 19875"/>
                <a:gd name="T125" fmla="*/ 6589 h 16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875" h="16460">
                  <a:moveTo>
                    <a:pt x="15504" y="3873"/>
                  </a:moveTo>
                  <a:cubicBezTo>
                    <a:pt x="15564" y="3852"/>
                    <a:pt x="15588" y="3802"/>
                    <a:pt x="15604" y="3748"/>
                  </a:cubicBezTo>
                  <a:cubicBezTo>
                    <a:pt x="15611" y="3726"/>
                    <a:pt x="15613" y="3702"/>
                    <a:pt x="15613" y="3680"/>
                  </a:cubicBezTo>
                  <a:cubicBezTo>
                    <a:pt x="15614" y="3646"/>
                    <a:pt x="15628" y="3619"/>
                    <a:pt x="15649" y="3595"/>
                  </a:cubicBezTo>
                  <a:cubicBezTo>
                    <a:pt x="15688" y="3549"/>
                    <a:pt x="15729" y="3505"/>
                    <a:pt x="15769" y="3460"/>
                  </a:cubicBezTo>
                  <a:cubicBezTo>
                    <a:pt x="15778" y="3449"/>
                    <a:pt x="15788" y="3436"/>
                    <a:pt x="15805" y="3442"/>
                  </a:cubicBezTo>
                  <a:cubicBezTo>
                    <a:pt x="15823" y="3449"/>
                    <a:pt x="15818" y="3466"/>
                    <a:pt x="15819" y="3480"/>
                  </a:cubicBezTo>
                  <a:cubicBezTo>
                    <a:pt x="15822" y="3526"/>
                    <a:pt x="15827" y="3571"/>
                    <a:pt x="15829" y="3617"/>
                  </a:cubicBezTo>
                  <a:cubicBezTo>
                    <a:pt x="15832" y="3705"/>
                    <a:pt x="15798" y="3752"/>
                    <a:pt x="15713" y="3776"/>
                  </a:cubicBezTo>
                  <a:cubicBezTo>
                    <a:pt x="15688" y="3784"/>
                    <a:pt x="15666" y="3793"/>
                    <a:pt x="15650" y="3814"/>
                  </a:cubicBezTo>
                  <a:cubicBezTo>
                    <a:pt x="15627" y="3841"/>
                    <a:pt x="15607" y="3870"/>
                    <a:pt x="15580" y="3893"/>
                  </a:cubicBezTo>
                  <a:cubicBezTo>
                    <a:pt x="15571" y="3900"/>
                    <a:pt x="15567" y="3910"/>
                    <a:pt x="15574" y="3921"/>
                  </a:cubicBezTo>
                  <a:cubicBezTo>
                    <a:pt x="15579" y="3928"/>
                    <a:pt x="15587" y="3932"/>
                    <a:pt x="15595" y="3929"/>
                  </a:cubicBezTo>
                  <a:cubicBezTo>
                    <a:pt x="15627" y="3920"/>
                    <a:pt x="15652" y="3937"/>
                    <a:pt x="15678" y="3950"/>
                  </a:cubicBezTo>
                  <a:cubicBezTo>
                    <a:pt x="15718" y="3971"/>
                    <a:pt x="15757" y="3995"/>
                    <a:pt x="15799" y="4014"/>
                  </a:cubicBezTo>
                  <a:cubicBezTo>
                    <a:pt x="15841" y="4034"/>
                    <a:pt x="15840" y="4064"/>
                    <a:pt x="15800" y="4088"/>
                  </a:cubicBezTo>
                  <a:cubicBezTo>
                    <a:pt x="15715" y="4137"/>
                    <a:pt x="15612" y="4126"/>
                    <a:pt x="15536" y="4058"/>
                  </a:cubicBezTo>
                  <a:cubicBezTo>
                    <a:pt x="15501" y="4026"/>
                    <a:pt x="15489" y="4026"/>
                    <a:pt x="15449" y="4049"/>
                  </a:cubicBezTo>
                  <a:cubicBezTo>
                    <a:pt x="15384" y="4085"/>
                    <a:pt x="15331" y="4134"/>
                    <a:pt x="15284" y="4189"/>
                  </a:cubicBezTo>
                  <a:cubicBezTo>
                    <a:pt x="15253" y="4225"/>
                    <a:pt x="15234" y="4263"/>
                    <a:pt x="15231" y="4312"/>
                  </a:cubicBezTo>
                  <a:cubicBezTo>
                    <a:pt x="15225" y="4402"/>
                    <a:pt x="15227" y="4492"/>
                    <a:pt x="15215" y="4580"/>
                  </a:cubicBezTo>
                  <a:cubicBezTo>
                    <a:pt x="15189" y="4767"/>
                    <a:pt x="15222" y="4954"/>
                    <a:pt x="15197" y="5140"/>
                  </a:cubicBezTo>
                  <a:cubicBezTo>
                    <a:pt x="15182" y="5249"/>
                    <a:pt x="15181" y="5360"/>
                    <a:pt x="15166" y="5469"/>
                  </a:cubicBezTo>
                  <a:cubicBezTo>
                    <a:pt x="15163" y="5495"/>
                    <a:pt x="15151" y="5521"/>
                    <a:pt x="15144" y="5547"/>
                  </a:cubicBezTo>
                  <a:cubicBezTo>
                    <a:pt x="15125" y="5622"/>
                    <a:pt x="15118" y="5698"/>
                    <a:pt x="15113" y="5775"/>
                  </a:cubicBezTo>
                  <a:cubicBezTo>
                    <a:pt x="15107" y="5875"/>
                    <a:pt x="15084" y="5970"/>
                    <a:pt x="15039" y="6062"/>
                  </a:cubicBezTo>
                  <a:cubicBezTo>
                    <a:pt x="14989" y="6163"/>
                    <a:pt x="14934" y="6260"/>
                    <a:pt x="14871" y="6352"/>
                  </a:cubicBezTo>
                  <a:cubicBezTo>
                    <a:pt x="14814" y="6435"/>
                    <a:pt x="14795" y="6533"/>
                    <a:pt x="14783" y="6630"/>
                  </a:cubicBezTo>
                  <a:cubicBezTo>
                    <a:pt x="14777" y="6679"/>
                    <a:pt x="14793" y="6732"/>
                    <a:pt x="14849" y="6761"/>
                  </a:cubicBezTo>
                  <a:cubicBezTo>
                    <a:pt x="14876" y="6774"/>
                    <a:pt x="14895" y="6802"/>
                    <a:pt x="14918" y="6823"/>
                  </a:cubicBezTo>
                  <a:cubicBezTo>
                    <a:pt x="14989" y="6888"/>
                    <a:pt x="15094" y="6860"/>
                    <a:pt x="15122" y="6768"/>
                  </a:cubicBezTo>
                  <a:cubicBezTo>
                    <a:pt x="15126" y="6755"/>
                    <a:pt x="15130" y="6740"/>
                    <a:pt x="15133" y="6726"/>
                  </a:cubicBezTo>
                  <a:cubicBezTo>
                    <a:pt x="15140" y="6688"/>
                    <a:pt x="15129" y="6661"/>
                    <a:pt x="15091" y="6656"/>
                  </a:cubicBezTo>
                  <a:cubicBezTo>
                    <a:pt x="14986" y="6642"/>
                    <a:pt x="14964" y="6554"/>
                    <a:pt x="14925" y="6480"/>
                  </a:cubicBezTo>
                  <a:cubicBezTo>
                    <a:pt x="14913" y="6457"/>
                    <a:pt x="14926" y="6442"/>
                    <a:pt x="14954" y="6439"/>
                  </a:cubicBezTo>
                  <a:cubicBezTo>
                    <a:pt x="15015" y="6433"/>
                    <a:pt x="15064" y="6461"/>
                    <a:pt x="15095" y="6519"/>
                  </a:cubicBezTo>
                  <a:cubicBezTo>
                    <a:pt x="15099" y="6527"/>
                    <a:pt x="15102" y="6534"/>
                    <a:pt x="15107" y="6541"/>
                  </a:cubicBezTo>
                  <a:cubicBezTo>
                    <a:pt x="15112" y="6550"/>
                    <a:pt x="15120" y="6558"/>
                    <a:pt x="15132" y="6554"/>
                  </a:cubicBezTo>
                  <a:cubicBezTo>
                    <a:pt x="15141" y="6551"/>
                    <a:pt x="15143" y="6542"/>
                    <a:pt x="15143" y="6533"/>
                  </a:cubicBezTo>
                  <a:cubicBezTo>
                    <a:pt x="15144" y="6494"/>
                    <a:pt x="15150" y="6456"/>
                    <a:pt x="15127" y="6418"/>
                  </a:cubicBezTo>
                  <a:cubicBezTo>
                    <a:pt x="15087" y="6350"/>
                    <a:pt x="15083" y="6276"/>
                    <a:pt x="15104" y="6201"/>
                  </a:cubicBezTo>
                  <a:cubicBezTo>
                    <a:pt x="15108" y="6187"/>
                    <a:pt x="15110" y="6172"/>
                    <a:pt x="15130" y="6160"/>
                  </a:cubicBezTo>
                  <a:cubicBezTo>
                    <a:pt x="15179" y="6216"/>
                    <a:pt x="15248" y="6261"/>
                    <a:pt x="15212" y="6355"/>
                  </a:cubicBezTo>
                  <a:cubicBezTo>
                    <a:pt x="15207" y="6367"/>
                    <a:pt x="15210" y="6380"/>
                    <a:pt x="15221" y="6388"/>
                  </a:cubicBezTo>
                  <a:cubicBezTo>
                    <a:pt x="15233" y="6397"/>
                    <a:pt x="15246" y="6393"/>
                    <a:pt x="15256" y="6385"/>
                  </a:cubicBezTo>
                  <a:cubicBezTo>
                    <a:pt x="15297" y="6353"/>
                    <a:pt x="15345" y="6332"/>
                    <a:pt x="15391" y="6309"/>
                  </a:cubicBezTo>
                  <a:cubicBezTo>
                    <a:pt x="15424" y="6292"/>
                    <a:pt x="15441" y="6270"/>
                    <a:pt x="15439" y="6237"/>
                  </a:cubicBezTo>
                  <a:cubicBezTo>
                    <a:pt x="15436" y="6201"/>
                    <a:pt x="15423" y="6164"/>
                    <a:pt x="15385" y="6152"/>
                  </a:cubicBezTo>
                  <a:cubicBezTo>
                    <a:pt x="15295" y="6123"/>
                    <a:pt x="15279" y="6049"/>
                    <a:pt x="15268" y="5971"/>
                  </a:cubicBezTo>
                  <a:cubicBezTo>
                    <a:pt x="15263" y="5936"/>
                    <a:pt x="15278" y="5927"/>
                    <a:pt x="15313" y="5939"/>
                  </a:cubicBezTo>
                  <a:cubicBezTo>
                    <a:pt x="15323" y="5942"/>
                    <a:pt x="15332" y="5948"/>
                    <a:pt x="15342" y="5950"/>
                  </a:cubicBezTo>
                  <a:cubicBezTo>
                    <a:pt x="15385" y="5961"/>
                    <a:pt x="15419" y="5982"/>
                    <a:pt x="15429" y="6029"/>
                  </a:cubicBezTo>
                  <a:cubicBezTo>
                    <a:pt x="15432" y="6039"/>
                    <a:pt x="15439" y="6049"/>
                    <a:pt x="15451" y="6047"/>
                  </a:cubicBezTo>
                  <a:cubicBezTo>
                    <a:pt x="15462" y="6045"/>
                    <a:pt x="15467" y="6035"/>
                    <a:pt x="15468" y="6024"/>
                  </a:cubicBezTo>
                  <a:cubicBezTo>
                    <a:pt x="15471" y="5972"/>
                    <a:pt x="15461" y="5925"/>
                    <a:pt x="15416" y="5892"/>
                  </a:cubicBezTo>
                  <a:cubicBezTo>
                    <a:pt x="15411" y="5888"/>
                    <a:pt x="15405" y="5885"/>
                    <a:pt x="15400" y="5882"/>
                  </a:cubicBezTo>
                  <a:cubicBezTo>
                    <a:pt x="15304" y="5827"/>
                    <a:pt x="15283" y="5736"/>
                    <a:pt x="15282" y="5636"/>
                  </a:cubicBezTo>
                  <a:cubicBezTo>
                    <a:pt x="15281" y="5607"/>
                    <a:pt x="15291" y="5602"/>
                    <a:pt x="15321" y="5613"/>
                  </a:cubicBezTo>
                  <a:cubicBezTo>
                    <a:pt x="15388" y="5637"/>
                    <a:pt x="15446" y="5670"/>
                    <a:pt x="15468" y="5745"/>
                  </a:cubicBezTo>
                  <a:cubicBezTo>
                    <a:pt x="15471" y="5755"/>
                    <a:pt x="15478" y="5763"/>
                    <a:pt x="15491" y="5761"/>
                  </a:cubicBezTo>
                  <a:cubicBezTo>
                    <a:pt x="15502" y="5759"/>
                    <a:pt x="15509" y="5751"/>
                    <a:pt x="15512" y="5740"/>
                  </a:cubicBezTo>
                  <a:cubicBezTo>
                    <a:pt x="15514" y="5732"/>
                    <a:pt x="15515" y="5723"/>
                    <a:pt x="15514" y="5715"/>
                  </a:cubicBezTo>
                  <a:cubicBezTo>
                    <a:pt x="15511" y="5644"/>
                    <a:pt x="15528" y="5581"/>
                    <a:pt x="15573" y="5524"/>
                  </a:cubicBezTo>
                  <a:cubicBezTo>
                    <a:pt x="15605" y="5483"/>
                    <a:pt x="15631" y="5438"/>
                    <a:pt x="15667" y="5401"/>
                  </a:cubicBezTo>
                  <a:cubicBezTo>
                    <a:pt x="15691" y="5377"/>
                    <a:pt x="15704" y="5381"/>
                    <a:pt x="15716" y="5413"/>
                  </a:cubicBezTo>
                  <a:cubicBezTo>
                    <a:pt x="15728" y="5448"/>
                    <a:pt x="15738" y="5484"/>
                    <a:pt x="15751" y="5520"/>
                  </a:cubicBezTo>
                  <a:cubicBezTo>
                    <a:pt x="15767" y="5563"/>
                    <a:pt x="15737" y="5619"/>
                    <a:pt x="15692" y="5634"/>
                  </a:cubicBezTo>
                  <a:cubicBezTo>
                    <a:pt x="15657" y="5646"/>
                    <a:pt x="15627" y="5662"/>
                    <a:pt x="15603" y="5689"/>
                  </a:cubicBezTo>
                  <a:cubicBezTo>
                    <a:pt x="15594" y="5699"/>
                    <a:pt x="15586" y="5709"/>
                    <a:pt x="15593" y="5722"/>
                  </a:cubicBezTo>
                  <a:cubicBezTo>
                    <a:pt x="15602" y="5738"/>
                    <a:pt x="15616" y="5736"/>
                    <a:pt x="15631" y="5731"/>
                  </a:cubicBezTo>
                  <a:cubicBezTo>
                    <a:pt x="15686" y="5713"/>
                    <a:pt x="15742" y="5697"/>
                    <a:pt x="15784" y="5655"/>
                  </a:cubicBezTo>
                  <a:cubicBezTo>
                    <a:pt x="15799" y="5664"/>
                    <a:pt x="15803" y="5675"/>
                    <a:pt x="15801" y="5688"/>
                  </a:cubicBezTo>
                  <a:cubicBezTo>
                    <a:pt x="15795" y="5730"/>
                    <a:pt x="15783" y="5770"/>
                    <a:pt x="15767" y="5808"/>
                  </a:cubicBezTo>
                  <a:cubicBezTo>
                    <a:pt x="15751" y="5848"/>
                    <a:pt x="15673" y="5884"/>
                    <a:pt x="15624" y="5878"/>
                  </a:cubicBezTo>
                  <a:cubicBezTo>
                    <a:pt x="15571" y="5871"/>
                    <a:pt x="15560" y="5877"/>
                    <a:pt x="15555" y="5928"/>
                  </a:cubicBezTo>
                  <a:cubicBezTo>
                    <a:pt x="15552" y="5955"/>
                    <a:pt x="15548" y="5981"/>
                    <a:pt x="15541" y="6008"/>
                  </a:cubicBezTo>
                  <a:cubicBezTo>
                    <a:pt x="15538" y="6020"/>
                    <a:pt x="15540" y="6033"/>
                    <a:pt x="15553" y="6040"/>
                  </a:cubicBezTo>
                  <a:cubicBezTo>
                    <a:pt x="15566" y="6047"/>
                    <a:pt x="15578" y="6041"/>
                    <a:pt x="15587" y="6031"/>
                  </a:cubicBezTo>
                  <a:cubicBezTo>
                    <a:pt x="15598" y="6019"/>
                    <a:pt x="15609" y="6006"/>
                    <a:pt x="15616" y="5991"/>
                  </a:cubicBezTo>
                  <a:cubicBezTo>
                    <a:pt x="15641" y="5935"/>
                    <a:pt x="15694" y="5918"/>
                    <a:pt x="15744" y="5901"/>
                  </a:cubicBezTo>
                  <a:cubicBezTo>
                    <a:pt x="15778" y="5889"/>
                    <a:pt x="15787" y="5903"/>
                    <a:pt x="15781" y="5938"/>
                  </a:cubicBezTo>
                  <a:cubicBezTo>
                    <a:pt x="15773" y="5990"/>
                    <a:pt x="15751" y="6036"/>
                    <a:pt x="15733" y="6085"/>
                  </a:cubicBezTo>
                  <a:cubicBezTo>
                    <a:pt x="15714" y="6136"/>
                    <a:pt x="15680" y="6160"/>
                    <a:pt x="15630" y="6172"/>
                  </a:cubicBezTo>
                  <a:cubicBezTo>
                    <a:pt x="15563" y="6189"/>
                    <a:pt x="15563" y="6190"/>
                    <a:pt x="15566" y="6259"/>
                  </a:cubicBezTo>
                  <a:cubicBezTo>
                    <a:pt x="15567" y="6299"/>
                    <a:pt x="15570" y="6338"/>
                    <a:pt x="15569" y="6378"/>
                  </a:cubicBezTo>
                  <a:cubicBezTo>
                    <a:pt x="15568" y="6421"/>
                    <a:pt x="15574" y="6466"/>
                    <a:pt x="15552" y="6506"/>
                  </a:cubicBezTo>
                  <a:cubicBezTo>
                    <a:pt x="15548" y="6514"/>
                    <a:pt x="15547" y="6523"/>
                    <a:pt x="15553" y="6530"/>
                  </a:cubicBezTo>
                  <a:cubicBezTo>
                    <a:pt x="15561" y="6540"/>
                    <a:pt x="15571" y="6536"/>
                    <a:pt x="15581" y="6532"/>
                  </a:cubicBezTo>
                  <a:cubicBezTo>
                    <a:pt x="15596" y="6526"/>
                    <a:pt x="15611" y="6518"/>
                    <a:pt x="15625" y="6508"/>
                  </a:cubicBezTo>
                  <a:cubicBezTo>
                    <a:pt x="15714" y="6448"/>
                    <a:pt x="15812" y="6411"/>
                    <a:pt x="15916" y="6387"/>
                  </a:cubicBezTo>
                  <a:cubicBezTo>
                    <a:pt x="16017" y="6364"/>
                    <a:pt x="16090" y="6312"/>
                    <a:pt x="16125" y="6212"/>
                  </a:cubicBezTo>
                  <a:cubicBezTo>
                    <a:pt x="16139" y="6169"/>
                    <a:pt x="16170" y="6131"/>
                    <a:pt x="16172" y="6084"/>
                  </a:cubicBezTo>
                  <a:cubicBezTo>
                    <a:pt x="16172" y="6071"/>
                    <a:pt x="16174" y="6059"/>
                    <a:pt x="16172" y="6047"/>
                  </a:cubicBezTo>
                  <a:cubicBezTo>
                    <a:pt x="16168" y="6023"/>
                    <a:pt x="16138" y="5990"/>
                    <a:pt x="16119" y="5992"/>
                  </a:cubicBezTo>
                  <a:cubicBezTo>
                    <a:pt x="16093" y="5995"/>
                    <a:pt x="16071" y="6010"/>
                    <a:pt x="16065" y="6037"/>
                  </a:cubicBezTo>
                  <a:cubicBezTo>
                    <a:pt x="16051" y="6092"/>
                    <a:pt x="16022" y="6140"/>
                    <a:pt x="16003" y="6193"/>
                  </a:cubicBezTo>
                  <a:cubicBezTo>
                    <a:pt x="15992" y="6223"/>
                    <a:pt x="15973" y="6248"/>
                    <a:pt x="15951" y="6270"/>
                  </a:cubicBezTo>
                  <a:cubicBezTo>
                    <a:pt x="15935" y="6287"/>
                    <a:pt x="15923" y="6283"/>
                    <a:pt x="15915" y="6261"/>
                  </a:cubicBezTo>
                  <a:cubicBezTo>
                    <a:pt x="15908" y="6241"/>
                    <a:pt x="15905" y="6220"/>
                    <a:pt x="15896" y="6202"/>
                  </a:cubicBezTo>
                  <a:cubicBezTo>
                    <a:pt x="15882" y="6175"/>
                    <a:pt x="15883" y="6150"/>
                    <a:pt x="15896" y="6124"/>
                  </a:cubicBezTo>
                  <a:cubicBezTo>
                    <a:pt x="15899" y="6119"/>
                    <a:pt x="15902" y="6113"/>
                    <a:pt x="15904" y="6107"/>
                  </a:cubicBezTo>
                  <a:cubicBezTo>
                    <a:pt x="15909" y="6090"/>
                    <a:pt x="15924" y="6069"/>
                    <a:pt x="15903" y="6057"/>
                  </a:cubicBezTo>
                  <a:cubicBezTo>
                    <a:pt x="15885" y="6046"/>
                    <a:pt x="15876" y="6069"/>
                    <a:pt x="15865" y="6080"/>
                  </a:cubicBezTo>
                  <a:cubicBezTo>
                    <a:pt x="15849" y="6094"/>
                    <a:pt x="15840" y="6114"/>
                    <a:pt x="15820" y="6123"/>
                  </a:cubicBezTo>
                  <a:cubicBezTo>
                    <a:pt x="15797" y="6133"/>
                    <a:pt x="15773" y="6119"/>
                    <a:pt x="15779" y="6096"/>
                  </a:cubicBezTo>
                  <a:cubicBezTo>
                    <a:pt x="15791" y="6044"/>
                    <a:pt x="15797" y="5990"/>
                    <a:pt x="15829" y="5944"/>
                  </a:cubicBezTo>
                  <a:cubicBezTo>
                    <a:pt x="15850" y="5915"/>
                    <a:pt x="15874" y="5902"/>
                    <a:pt x="15909" y="5916"/>
                  </a:cubicBezTo>
                  <a:cubicBezTo>
                    <a:pt x="15933" y="5924"/>
                    <a:pt x="15958" y="5929"/>
                    <a:pt x="15983" y="5926"/>
                  </a:cubicBezTo>
                  <a:cubicBezTo>
                    <a:pt x="16009" y="5924"/>
                    <a:pt x="16018" y="5907"/>
                    <a:pt x="16001" y="5890"/>
                  </a:cubicBezTo>
                  <a:cubicBezTo>
                    <a:pt x="15959" y="5848"/>
                    <a:pt x="15955" y="5783"/>
                    <a:pt x="15911" y="5742"/>
                  </a:cubicBezTo>
                  <a:cubicBezTo>
                    <a:pt x="15897" y="5729"/>
                    <a:pt x="15907" y="5714"/>
                    <a:pt x="15926" y="5711"/>
                  </a:cubicBezTo>
                  <a:cubicBezTo>
                    <a:pt x="15998" y="5697"/>
                    <a:pt x="16091" y="5775"/>
                    <a:pt x="16092" y="5850"/>
                  </a:cubicBezTo>
                  <a:cubicBezTo>
                    <a:pt x="16092" y="5887"/>
                    <a:pt x="16139" y="5935"/>
                    <a:pt x="16174" y="5935"/>
                  </a:cubicBezTo>
                  <a:cubicBezTo>
                    <a:pt x="16196" y="5935"/>
                    <a:pt x="16203" y="5919"/>
                    <a:pt x="16205" y="5902"/>
                  </a:cubicBezTo>
                  <a:cubicBezTo>
                    <a:pt x="16210" y="5852"/>
                    <a:pt x="16214" y="5802"/>
                    <a:pt x="16202" y="5753"/>
                  </a:cubicBezTo>
                  <a:cubicBezTo>
                    <a:pt x="16193" y="5719"/>
                    <a:pt x="16182" y="5685"/>
                    <a:pt x="16169" y="5652"/>
                  </a:cubicBezTo>
                  <a:cubicBezTo>
                    <a:pt x="16154" y="5613"/>
                    <a:pt x="16136" y="5607"/>
                    <a:pt x="16097" y="5623"/>
                  </a:cubicBezTo>
                  <a:cubicBezTo>
                    <a:pt x="16069" y="5635"/>
                    <a:pt x="16039" y="5644"/>
                    <a:pt x="16009" y="5654"/>
                  </a:cubicBezTo>
                  <a:cubicBezTo>
                    <a:pt x="15995" y="5659"/>
                    <a:pt x="15981" y="5656"/>
                    <a:pt x="15967" y="5652"/>
                  </a:cubicBezTo>
                  <a:cubicBezTo>
                    <a:pt x="15926" y="5641"/>
                    <a:pt x="15891" y="5619"/>
                    <a:pt x="15852" y="5604"/>
                  </a:cubicBezTo>
                  <a:cubicBezTo>
                    <a:pt x="15830" y="5595"/>
                    <a:pt x="15829" y="5575"/>
                    <a:pt x="15845" y="5565"/>
                  </a:cubicBezTo>
                  <a:cubicBezTo>
                    <a:pt x="15907" y="5531"/>
                    <a:pt x="15965" y="5476"/>
                    <a:pt x="16046" y="5519"/>
                  </a:cubicBezTo>
                  <a:cubicBezTo>
                    <a:pt x="16053" y="5523"/>
                    <a:pt x="16061" y="5525"/>
                    <a:pt x="16069" y="5526"/>
                  </a:cubicBezTo>
                  <a:cubicBezTo>
                    <a:pt x="16087" y="5527"/>
                    <a:pt x="16100" y="5518"/>
                    <a:pt x="16092" y="5500"/>
                  </a:cubicBezTo>
                  <a:cubicBezTo>
                    <a:pt x="16075" y="5460"/>
                    <a:pt x="16045" y="5432"/>
                    <a:pt x="16010" y="5409"/>
                  </a:cubicBezTo>
                  <a:cubicBezTo>
                    <a:pt x="15994" y="5398"/>
                    <a:pt x="15976" y="5403"/>
                    <a:pt x="15964" y="5416"/>
                  </a:cubicBezTo>
                  <a:cubicBezTo>
                    <a:pt x="15929" y="5453"/>
                    <a:pt x="15880" y="5460"/>
                    <a:pt x="15836" y="5476"/>
                  </a:cubicBezTo>
                  <a:cubicBezTo>
                    <a:pt x="15787" y="5494"/>
                    <a:pt x="15769" y="5480"/>
                    <a:pt x="15775" y="5428"/>
                  </a:cubicBezTo>
                  <a:cubicBezTo>
                    <a:pt x="15777" y="5406"/>
                    <a:pt x="15774" y="5382"/>
                    <a:pt x="15789" y="5362"/>
                  </a:cubicBezTo>
                  <a:cubicBezTo>
                    <a:pt x="15813" y="5331"/>
                    <a:pt x="15844" y="5319"/>
                    <a:pt x="15883" y="5330"/>
                  </a:cubicBezTo>
                  <a:cubicBezTo>
                    <a:pt x="15895" y="5333"/>
                    <a:pt x="15908" y="5336"/>
                    <a:pt x="15916" y="5322"/>
                  </a:cubicBezTo>
                  <a:cubicBezTo>
                    <a:pt x="15925" y="5306"/>
                    <a:pt x="15915" y="5295"/>
                    <a:pt x="15902" y="5286"/>
                  </a:cubicBezTo>
                  <a:cubicBezTo>
                    <a:pt x="15864" y="5259"/>
                    <a:pt x="15825" y="5236"/>
                    <a:pt x="15776" y="5239"/>
                  </a:cubicBezTo>
                  <a:cubicBezTo>
                    <a:pt x="15755" y="5241"/>
                    <a:pt x="15735" y="5238"/>
                    <a:pt x="15715" y="5230"/>
                  </a:cubicBezTo>
                  <a:cubicBezTo>
                    <a:pt x="15681" y="5215"/>
                    <a:pt x="15672" y="5202"/>
                    <a:pt x="15681" y="5163"/>
                  </a:cubicBezTo>
                  <a:cubicBezTo>
                    <a:pt x="15692" y="5120"/>
                    <a:pt x="15676" y="5087"/>
                    <a:pt x="15646" y="5053"/>
                  </a:cubicBezTo>
                  <a:cubicBezTo>
                    <a:pt x="15695" y="5037"/>
                    <a:pt x="15739" y="5029"/>
                    <a:pt x="15784" y="5044"/>
                  </a:cubicBezTo>
                  <a:cubicBezTo>
                    <a:pt x="15824" y="5057"/>
                    <a:pt x="15843" y="5095"/>
                    <a:pt x="15861" y="5129"/>
                  </a:cubicBezTo>
                  <a:cubicBezTo>
                    <a:pt x="15877" y="5159"/>
                    <a:pt x="15897" y="5185"/>
                    <a:pt x="15915" y="5213"/>
                  </a:cubicBezTo>
                  <a:cubicBezTo>
                    <a:pt x="15921" y="5221"/>
                    <a:pt x="15928" y="5229"/>
                    <a:pt x="15936" y="5236"/>
                  </a:cubicBezTo>
                  <a:cubicBezTo>
                    <a:pt x="15945" y="5245"/>
                    <a:pt x="15956" y="5254"/>
                    <a:pt x="15969" y="5245"/>
                  </a:cubicBezTo>
                  <a:cubicBezTo>
                    <a:pt x="15978" y="5238"/>
                    <a:pt x="15978" y="5226"/>
                    <a:pt x="15974" y="5216"/>
                  </a:cubicBezTo>
                  <a:cubicBezTo>
                    <a:pt x="15954" y="5166"/>
                    <a:pt x="15970" y="5117"/>
                    <a:pt x="15978" y="5068"/>
                  </a:cubicBezTo>
                  <a:cubicBezTo>
                    <a:pt x="15983" y="5033"/>
                    <a:pt x="16000" y="5026"/>
                    <a:pt x="16027" y="5048"/>
                  </a:cubicBezTo>
                  <a:cubicBezTo>
                    <a:pt x="16051" y="5068"/>
                    <a:pt x="16074" y="5089"/>
                    <a:pt x="16095" y="5112"/>
                  </a:cubicBezTo>
                  <a:cubicBezTo>
                    <a:pt x="16136" y="5157"/>
                    <a:pt x="16138" y="5204"/>
                    <a:pt x="16102" y="5253"/>
                  </a:cubicBezTo>
                  <a:cubicBezTo>
                    <a:pt x="16065" y="5304"/>
                    <a:pt x="16065" y="5303"/>
                    <a:pt x="16097" y="5356"/>
                  </a:cubicBezTo>
                  <a:cubicBezTo>
                    <a:pt x="16112" y="5383"/>
                    <a:pt x="16126" y="5411"/>
                    <a:pt x="16141" y="5439"/>
                  </a:cubicBezTo>
                  <a:cubicBezTo>
                    <a:pt x="16147" y="5450"/>
                    <a:pt x="16158" y="5459"/>
                    <a:pt x="16171" y="5453"/>
                  </a:cubicBezTo>
                  <a:cubicBezTo>
                    <a:pt x="16183" y="5449"/>
                    <a:pt x="16181" y="5437"/>
                    <a:pt x="16181" y="5427"/>
                  </a:cubicBezTo>
                  <a:cubicBezTo>
                    <a:pt x="16183" y="5391"/>
                    <a:pt x="16163" y="5359"/>
                    <a:pt x="16160" y="5318"/>
                  </a:cubicBezTo>
                  <a:cubicBezTo>
                    <a:pt x="16212" y="5324"/>
                    <a:pt x="16232" y="5365"/>
                    <a:pt x="16250" y="5398"/>
                  </a:cubicBezTo>
                  <a:cubicBezTo>
                    <a:pt x="16279" y="5449"/>
                    <a:pt x="16297" y="5505"/>
                    <a:pt x="16239" y="5555"/>
                  </a:cubicBezTo>
                  <a:cubicBezTo>
                    <a:pt x="16217" y="5574"/>
                    <a:pt x="16240" y="5646"/>
                    <a:pt x="16268" y="5657"/>
                  </a:cubicBezTo>
                  <a:cubicBezTo>
                    <a:pt x="16287" y="5665"/>
                    <a:pt x="16301" y="5653"/>
                    <a:pt x="16309" y="5639"/>
                  </a:cubicBezTo>
                  <a:cubicBezTo>
                    <a:pt x="16330" y="5605"/>
                    <a:pt x="16351" y="5571"/>
                    <a:pt x="16366" y="5535"/>
                  </a:cubicBezTo>
                  <a:cubicBezTo>
                    <a:pt x="16382" y="5499"/>
                    <a:pt x="16392" y="5460"/>
                    <a:pt x="16402" y="5422"/>
                  </a:cubicBezTo>
                  <a:cubicBezTo>
                    <a:pt x="16424" y="5343"/>
                    <a:pt x="16413" y="5266"/>
                    <a:pt x="16390" y="5189"/>
                  </a:cubicBezTo>
                  <a:cubicBezTo>
                    <a:pt x="16366" y="5109"/>
                    <a:pt x="16322" y="5037"/>
                    <a:pt x="16303" y="4956"/>
                  </a:cubicBezTo>
                  <a:cubicBezTo>
                    <a:pt x="16297" y="4931"/>
                    <a:pt x="16293" y="4907"/>
                    <a:pt x="16292" y="4882"/>
                  </a:cubicBezTo>
                  <a:cubicBezTo>
                    <a:pt x="16291" y="4844"/>
                    <a:pt x="16309" y="4831"/>
                    <a:pt x="16348" y="4839"/>
                  </a:cubicBezTo>
                  <a:cubicBezTo>
                    <a:pt x="16403" y="4849"/>
                    <a:pt x="16462" y="4914"/>
                    <a:pt x="16470" y="4975"/>
                  </a:cubicBezTo>
                  <a:cubicBezTo>
                    <a:pt x="16471" y="4983"/>
                    <a:pt x="16469" y="4992"/>
                    <a:pt x="16470" y="5000"/>
                  </a:cubicBezTo>
                  <a:cubicBezTo>
                    <a:pt x="16470" y="5015"/>
                    <a:pt x="16472" y="5030"/>
                    <a:pt x="16490" y="5034"/>
                  </a:cubicBezTo>
                  <a:cubicBezTo>
                    <a:pt x="16504" y="5036"/>
                    <a:pt x="16512" y="5026"/>
                    <a:pt x="16519" y="5014"/>
                  </a:cubicBezTo>
                  <a:cubicBezTo>
                    <a:pt x="16527" y="5000"/>
                    <a:pt x="16537" y="4986"/>
                    <a:pt x="16546" y="4973"/>
                  </a:cubicBezTo>
                  <a:cubicBezTo>
                    <a:pt x="16572" y="4938"/>
                    <a:pt x="16579" y="4900"/>
                    <a:pt x="16559" y="4862"/>
                  </a:cubicBezTo>
                  <a:cubicBezTo>
                    <a:pt x="16522" y="4789"/>
                    <a:pt x="16539" y="4725"/>
                    <a:pt x="16583" y="4663"/>
                  </a:cubicBezTo>
                  <a:cubicBezTo>
                    <a:pt x="16610" y="4625"/>
                    <a:pt x="16633" y="4625"/>
                    <a:pt x="16658" y="4665"/>
                  </a:cubicBezTo>
                  <a:cubicBezTo>
                    <a:pt x="16682" y="4704"/>
                    <a:pt x="16703" y="4742"/>
                    <a:pt x="16684" y="4793"/>
                  </a:cubicBezTo>
                  <a:cubicBezTo>
                    <a:pt x="16670" y="4830"/>
                    <a:pt x="16690" y="4847"/>
                    <a:pt x="16730" y="4842"/>
                  </a:cubicBezTo>
                  <a:cubicBezTo>
                    <a:pt x="16754" y="4839"/>
                    <a:pt x="16774" y="4829"/>
                    <a:pt x="16790" y="4811"/>
                  </a:cubicBezTo>
                  <a:cubicBezTo>
                    <a:pt x="16798" y="4802"/>
                    <a:pt x="16806" y="4793"/>
                    <a:pt x="16814" y="4783"/>
                  </a:cubicBezTo>
                  <a:cubicBezTo>
                    <a:pt x="16871" y="4709"/>
                    <a:pt x="16898" y="4726"/>
                    <a:pt x="16965" y="4757"/>
                  </a:cubicBezTo>
                  <a:cubicBezTo>
                    <a:pt x="17004" y="4775"/>
                    <a:pt x="17031" y="4812"/>
                    <a:pt x="17057" y="4848"/>
                  </a:cubicBezTo>
                  <a:cubicBezTo>
                    <a:pt x="17072" y="4867"/>
                    <a:pt x="17068" y="4883"/>
                    <a:pt x="17046" y="4893"/>
                  </a:cubicBezTo>
                  <a:cubicBezTo>
                    <a:pt x="17002" y="4913"/>
                    <a:pt x="16958" y="4932"/>
                    <a:pt x="16915" y="4953"/>
                  </a:cubicBezTo>
                  <a:cubicBezTo>
                    <a:pt x="16897" y="4962"/>
                    <a:pt x="16883" y="4954"/>
                    <a:pt x="16868" y="4949"/>
                  </a:cubicBezTo>
                  <a:cubicBezTo>
                    <a:pt x="16840" y="4940"/>
                    <a:pt x="16813" y="4929"/>
                    <a:pt x="16785" y="4922"/>
                  </a:cubicBezTo>
                  <a:cubicBezTo>
                    <a:pt x="16764" y="4916"/>
                    <a:pt x="16740" y="4917"/>
                    <a:pt x="16734" y="4943"/>
                  </a:cubicBezTo>
                  <a:cubicBezTo>
                    <a:pt x="16728" y="4968"/>
                    <a:pt x="16750" y="4974"/>
                    <a:pt x="16769" y="4978"/>
                  </a:cubicBezTo>
                  <a:cubicBezTo>
                    <a:pt x="16806" y="4986"/>
                    <a:pt x="16837" y="5008"/>
                    <a:pt x="16869" y="5027"/>
                  </a:cubicBezTo>
                  <a:cubicBezTo>
                    <a:pt x="16888" y="5038"/>
                    <a:pt x="16896" y="5054"/>
                    <a:pt x="16874" y="5071"/>
                  </a:cubicBezTo>
                  <a:cubicBezTo>
                    <a:pt x="16854" y="5086"/>
                    <a:pt x="16835" y="5103"/>
                    <a:pt x="16813" y="5115"/>
                  </a:cubicBezTo>
                  <a:cubicBezTo>
                    <a:pt x="16740" y="5158"/>
                    <a:pt x="16682" y="5119"/>
                    <a:pt x="16627" y="5077"/>
                  </a:cubicBezTo>
                  <a:cubicBezTo>
                    <a:pt x="16608" y="5063"/>
                    <a:pt x="16594" y="5048"/>
                    <a:pt x="16573" y="5066"/>
                  </a:cubicBezTo>
                  <a:cubicBezTo>
                    <a:pt x="16559" y="5079"/>
                    <a:pt x="16538" y="5092"/>
                    <a:pt x="16543" y="5117"/>
                  </a:cubicBezTo>
                  <a:cubicBezTo>
                    <a:pt x="16547" y="5141"/>
                    <a:pt x="16571" y="5138"/>
                    <a:pt x="16588" y="5142"/>
                  </a:cubicBezTo>
                  <a:cubicBezTo>
                    <a:pt x="16634" y="5152"/>
                    <a:pt x="16669" y="5183"/>
                    <a:pt x="16709" y="5203"/>
                  </a:cubicBezTo>
                  <a:cubicBezTo>
                    <a:pt x="16729" y="5213"/>
                    <a:pt x="16729" y="5229"/>
                    <a:pt x="16712" y="5243"/>
                  </a:cubicBezTo>
                  <a:cubicBezTo>
                    <a:pt x="16663" y="5286"/>
                    <a:pt x="16608" y="5319"/>
                    <a:pt x="16546" y="5263"/>
                  </a:cubicBezTo>
                  <a:cubicBezTo>
                    <a:pt x="16535" y="5253"/>
                    <a:pt x="16520" y="5242"/>
                    <a:pt x="16502" y="5242"/>
                  </a:cubicBezTo>
                  <a:cubicBezTo>
                    <a:pt x="16499" y="5246"/>
                    <a:pt x="16494" y="5249"/>
                    <a:pt x="16494" y="5251"/>
                  </a:cubicBezTo>
                  <a:cubicBezTo>
                    <a:pt x="16511" y="5390"/>
                    <a:pt x="16479" y="5518"/>
                    <a:pt x="16409" y="5638"/>
                  </a:cubicBezTo>
                  <a:cubicBezTo>
                    <a:pt x="16332" y="5769"/>
                    <a:pt x="16280" y="5907"/>
                    <a:pt x="16277" y="6062"/>
                  </a:cubicBezTo>
                  <a:cubicBezTo>
                    <a:pt x="16277" y="6113"/>
                    <a:pt x="16261" y="6164"/>
                    <a:pt x="16253" y="6216"/>
                  </a:cubicBezTo>
                  <a:cubicBezTo>
                    <a:pt x="16248" y="6254"/>
                    <a:pt x="16257" y="6259"/>
                    <a:pt x="16295" y="6246"/>
                  </a:cubicBezTo>
                  <a:cubicBezTo>
                    <a:pt x="16366" y="6222"/>
                    <a:pt x="16416" y="6167"/>
                    <a:pt x="16468" y="6118"/>
                  </a:cubicBezTo>
                  <a:cubicBezTo>
                    <a:pt x="16505" y="6083"/>
                    <a:pt x="16538" y="6046"/>
                    <a:pt x="16565" y="6004"/>
                  </a:cubicBezTo>
                  <a:cubicBezTo>
                    <a:pt x="16599" y="5953"/>
                    <a:pt x="16647" y="5921"/>
                    <a:pt x="16703" y="5900"/>
                  </a:cubicBezTo>
                  <a:cubicBezTo>
                    <a:pt x="16805" y="5861"/>
                    <a:pt x="16909" y="5825"/>
                    <a:pt x="17011" y="5785"/>
                  </a:cubicBezTo>
                  <a:cubicBezTo>
                    <a:pt x="17051" y="5769"/>
                    <a:pt x="17090" y="5747"/>
                    <a:pt x="17123" y="5719"/>
                  </a:cubicBezTo>
                  <a:cubicBezTo>
                    <a:pt x="17164" y="5683"/>
                    <a:pt x="17169" y="5649"/>
                    <a:pt x="17139" y="5604"/>
                  </a:cubicBezTo>
                  <a:cubicBezTo>
                    <a:pt x="17125" y="5582"/>
                    <a:pt x="17105" y="5562"/>
                    <a:pt x="17087" y="5542"/>
                  </a:cubicBezTo>
                  <a:cubicBezTo>
                    <a:pt x="17056" y="5506"/>
                    <a:pt x="17038" y="5465"/>
                    <a:pt x="17039" y="5417"/>
                  </a:cubicBezTo>
                  <a:cubicBezTo>
                    <a:pt x="17039" y="5382"/>
                    <a:pt x="17039" y="5346"/>
                    <a:pt x="17035" y="5311"/>
                  </a:cubicBezTo>
                  <a:cubicBezTo>
                    <a:pt x="17031" y="5276"/>
                    <a:pt x="17043" y="5268"/>
                    <a:pt x="17073" y="5282"/>
                  </a:cubicBezTo>
                  <a:cubicBezTo>
                    <a:pt x="17081" y="5286"/>
                    <a:pt x="17087" y="5291"/>
                    <a:pt x="17095" y="5295"/>
                  </a:cubicBezTo>
                  <a:cubicBezTo>
                    <a:pt x="17162" y="5326"/>
                    <a:pt x="17207" y="5373"/>
                    <a:pt x="17207" y="5452"/>
                  </a:cubicBezTo>
                  <a:cubicBezTo>
                    <a:pt x="17207" y="5464"/>
                    <a:pt x="17206" y="5479"/>
                    <a:pt x="17221" y="5483"/>
                  </a:cubicBezTo>
                  <a:cubicBezTo>
                    <a:pt x="17238" y="5487"/>
                    <a:pt x="17248" y="5476"/>
                    <a:pt x="17255" y="5462"/>
                  </a:cubicBezTo>
                  <a:cubicBezTo>
                    <a:pt x="17274" y="5426"/>
                    <a:pt x="17279" y="5389"/>
                    <a:pt x="17255" y="5355"/>
                  </a:cubicBezTo>
                  <a:cubicBezTo>
                    <a:pt x="17219" y="5304"/>
                    <a:pt x="17204" y="5248"/>
                    <a:pt x="17203" y="5185"/>
                  </a:cubicBezTo>
                  <a:cubicBezTo>
                    <a:pt x="17203" y="5150"/>
                    <a:pt x="17193" y="5116"/>
                    <a:pt x="17179" y="5083"/>
                  </a:cubicBezTo>
                  <a:cubicBezTo>
                    <a:pt x="17173" y="5070"/>
                    <a:pt x="17167" y="5054"/>
                    <a:pt x="17181" y="5042"/>
                  </a:cubicBezTo>
                  <a:cubicBezTo>
                    <a:pt x="17194" y="5032"/>
                    <a:pt x="17210" y="5035"/>
                    <a:pt x="17222" y="5042"/>
                  </a:cubicBezTo>
                  <a:cubicBezTo>
                    <a:pt x="17261" y="5062"/>
                    <a:pt x="17304" y="5078"/>
                    <a:pt x="17330" y="5114"/>
                  </a:cubicBezTo>
                  <a:cubicBezTo>
                    <a:pt x="17368" y="5164"/>
                    <a:pt x="17377" y="5219"/>
                    <a:pt x="17351" y="5278"/>
                  </a:cubicBezTo>
                  <a:cubicBezTo>
                    <a:pt x="17342" y="5297"/>
                    <a:pt x="17329" y="5321"/>
                    <a:pt x="17350" y="5334"/>
                  </a:cubicBezTo>
                  <a:cubicBezTo>
                    <a:pt x="17372" y="5348"/>
                    <a:pt x="17388" y="5325"/>
                    <a:pt x="17403" y="5312"/>
                  </a:cubicBezTo>
                  <a:cubicBezTo>
                    <a:pt x="17425" y="5294"/>
                    <a:pt x="17435" y="5268"/>
                    <a:pt x="17441" y="5241"/>
                  </a:cubicBezTo>
                  <a:cubicBezTo>
                    <a:pt x="17461" y="5164"/>
                    <a:pt x="17510" y="5111"/>
                    <a:pt x="17577" y="5071"/>
                  </a:cubicBezTo>
                  <a:cubicBezTo>
                    <a:pt x="17609" y="5052"/>
                    <a:pt x="17638" y="5028"/>
                    <a:pt x="17669" y="5006"/>
                  </a:cubicBezTo>
                  <a:cubicBezTo>
                    <a:pt x="17680" y="4999"/>
                    <a:pt x="17692" y="4985"/>
                    <a:pt x="17708" y="4997"/>
                  </a:cubicBezTo>
                  <a:cubicBezTo>
                    <a:pt x="17719" y="5004"/>
                    <a:pt x="17724" y="5017"/>
                    <a:pt x="17722" y="5030"/>
                  </a:cubicBezTo>
                  <a:cubicBezTo>
                    <a:pt x="17712" y="5083"/>
                    <a:pt x="17712" y="5138"/>
                    <a:pt x="17698" y="5189"/>
                  </a:cubicBezTo>
                  <a:cubicBezTo>
                    <a:pt x="17683" y="5246"/>
                    <a:pt x="17640" y="5286"/>
                    <a:pt x="17577" y="5292"/>
                  </a:cubicBezTo>
                  <a:cubicBezTo>
                    <a:pt x="17529" y="5296"/>
                    <a:pt x="17489" y="5315"/>
                    <a:pt x="17452" y="5343"/>
                  </a:cubicBezTo>
                  <a:cubicBezTo>
                    <a:pt x="17440" y="5352"/>
                    <a:pt x="17426" y="5360"/>
                    <a:pt x="17431" y="5377"/>
                  </a:cubicBezTo>
                  <a:cubicBezTo>
                    <a:pt x="17435" y="5394"/>
                    <a:pt x="17450" y="5398"/>
                    <a:pt x="17465" y="5398"/>
                  </a:cubicBezTo>
                  <a:cubicBezTo>
                    <a:pt x="17525" y="5398"/>
                    <a:pt x="17572" y="5432"/>
                    <a:pt x="17623" y="5453"/>
                  </a:cubicBezTo>
                  <a:cubicBezTo>
                    <a:pt x="17656" y="5465"/>
                    <a:pt x="17655" y="5479"/>
                    <a:pt x="17629" y="5501"/>
                  </a:cubicBezTo>
                  <a:cubicBezTo>
                    <a:pt x="17573" y="5547"/>
                    <a:pt x="17491" y="5554"/>
                    <a:pt x="17430" y="5519"/>
                  </a:cubicBezTo>
                  <a:cubicBezTo>
                    <a:pt x="17419" y="5513"/>
                    <a:pt x="17409" y="5505"/>
                    <a:pt x="17399" y="5498"/>
                  </a:cubicBezTo>
                  <a:cubicBezTo>
                    <a:pt x="17350" y="5467"/>
                    <a:pt x="17330" y="5471"/>
                    <a:pt x="17297" y="5520"/>
                  </a:cubicBezTo>
                  <a:cubicBezTo>
                    <a:pt x="17282" y="5542"/>
                    <a:pt x="17286" y="5560"/>
                    <a:pt x="17310" y="5569"/>
                  </a:cubicBezTo>
                  <a:cubicBezTo>
                    <a:pt x="17319" y="5573"/>
                    <a:pt x="17330" y="5575"/>
                    <a:pt x="17340" y="5576"/>
                  </a:cubicBezTo>
                  <a:cubicBezTo>
                    <a:pt x="17376" y="5577"/>
                    <a:pt x="17400" y="5593"/>
                    <a:pt x="17424" y="5620"/>
                  </a:cubicBezTo>
                  <a:cubicBezTo>
                    <a:pt x="17464" y="5664"/>
                    <a:pt x="17524" y="5668"/>
                    <a:pt x="17579" y="5678"/>
                  </a:cubicBezTo>
                  <a:cubicBezTo>
                    <a:pt x="17706" y="5699"/>
                    <a:pt x="17821" y="5667"/>
                    <a:pt x="17929" y="5600"/>
                  </a:cubicBezTo>
                  <a:cubicBezTo>
                    <a:pt x="17964" y="5578"/>
                    <a:pt x="18002" y="5560"/>
                    <a:pt x="18038" y="5539"/>
                  </a:cubicBezTo>
                  <a:cubicBezTo>
                    <a:pt x="18081" y="5515"/>
                    <a:pt x="18088" y="5504"/>
                    <a:pt x="18074" y="5459"/>
                  </a:cubicBezTo>
                  <a:cubicBezTo>
                    <a:pt x="18056" y="5402"/>
                    <a:pt x="18077" y="5353"/>
                    <a:pt x="18096" y="5303"/>
                  </a:cubicBezTo>
                  <a:cubicBezTo>
                    <a:pt x="18099" y="5295"/>
                    <a:pt x="18106" y="5289"/>
                    <a:pt x="18110" y="5282"/>
                  </a:cubicBezTo>
                  <a:cubicBezTo>
                    <a:pt x="18153" y="5208"/>
                    <a:pt x="18153" y="5209"/>
                    <a:pt x="18206" y="5278"/>
                  </a:cubicBezTo>
                  <a:cubicBezTo>
                    <a:pt x="18243" y="5326"/>
                    <a:pt x="18242" y="5377"/>
                    <a:pt x="18222" y="5431"/>
                  </a:cubicBezTo>
                  <a:cubicBezTo>
                    <a:pt x="18215" y="5449"/>
                    <a:pt x="18191" y="5468"/>
                    <a:pt x="18212" y="5487"/>
                  </a:cubicBezTo>
                  <a:cubicBezTo>
                    <a:pt x="18235" y="5506"/>
                    <a:pt x="18254" y="5481"/>
                    <a:pt x="18273" y="5470"/>
                  </a:cubicBezTo>
                  <a:cubicBezTo>
                    <a:pt x="18308" y="5451"/>
                    <a:pt x="18345" y="5436"/>
                    <a:pt x="18386" y="5438"/>
                  </a:cubicBezTo>
                  <a:cubicBezTo>
                    <a:pt x="18415" y="5438"/>
                    <a:pt x="18430" y="5425"/>
                    <a:pt x="18445" y="5401"/>
                  </a:cubicBezTo>
                  <a:cubicBezTo>
                    <a:pt x="18471" y="5357"/>
                    <a:pt x="18482" y="5309"/>
                    <a:pt x="18501" y="5263"/>
                  </a:cubicBezTo>
                  <a:cubicBezTo>
                    <a:pt x="18525" y="5202"/>
                    <a:pt x="18561" y="5178"/>
                    <a:pt x="18626" y="5186"/>
                  </a:cubicBezTo>
                  <a:cubicBezTo>
                    <a:pt x="18663" y="5190"/>
                    <a:pt x="18700" y="5194"/>
                    <a:pt x="18737" y="5201"/>
                  </a:cubicBezTo>
                  <a:cubicBezTo>
                    <a:pt x="18770" y="5207"/>
                    <a:pt x="18772" y="5217"/>
                    <a:pt x="18753" y="5248"/>
                  </a:cubicBezTo>
                  <a:cubicBezTo>
                    <a:pt x="18735" y="5279"/>
                    <a:pt x="18709" y="5303"/>
                    <a:pt x="18684" y="5328"/>
                  </a:cubicBezTo>
                  <a:cubicBezTo>
                    <a:pt x="18674" y="5338"/>
                    <a:pt x="18662" y="5347"/>
                    <a:pt x="18653" y="5358"/>
                  </a:cubicBezTo>
                  <a:cubicBezTo>
                    <a:pt x="18647" y="5366"/>
                    <a:pt x="18643" y="5377"/>
                    <a:pt x="18651" y="5387"/>
                  </a:cubicBezTo>
                  <a:cubicBezTo>
                    <a:pt x="18657" y="5395"/>
                    <a:pt x="18666" y="5393"/>
                    <a:pt x="18674" y="5391"/>
                  </a:cubicBezTo>
                  <a:cubicBezTo>
                    <a:pt x="18694" y="5385"/>
                    <a:pt x="18715" y="5382"/>
                    <a:pt x="18733" y="5371"/>
                  </a:cubicBezTo>
                  <a:cubicBezTo>
                    <a:pt x="18784" y="5341"/>
                    <a:pt x="18839" y="5336"/>
                    <a:pt x="18896" y="5341"/>
                  </a:cubicBezTo>
                  <a:cubicBezTo>
                    <a:pt x="18964" y="5348"/>
                    <a:pt x="19031" y="5362"/>
                    <a:pt x="19100" y="5364"/>
                  </a:cubicBezTo>
                  <a:cubicBezTo>
                    <a:pt x="19141" y="5365"/>
                    <a:pt x="19155" y="5393"/>
                    <a:pt x="19133" y="5426"/>
                  </a:cubicBezTo>
                  <a:cubicBezTo>
                    <a:pt x="19124" y="5440"/>
                    <a:pt x="19113" y="5453"/>
                    <a:pt x="19099" y="5461"/>
                  </a:cubicBezTo>
                  <a:cubicBezTo>
                    <a:pt x="19063" y="5482"/>
                    <a:pt x="19032" y="5509"/>
                    <a:pt x="18998" y="5533"/>
                  </a:cubicBezTo>
                  <a:cubicBezTo>
                    <a:pt x="18949" y="5567"/>
                    <a:pt x="18892" y="5564"/>
                    <a:pt x="18838" y="5537"/>
                  </a:cubicBezTo>
                  <a:cubicBezTo>
                    <a:pt x="18823" y="5530"/>
                    <a:pt x="18808" y="5521"/>
                    <a:pt x="18796" y="5511"/>
                  </a:cubicBezTo>
                  <a:cubicBezTo>
                    <a:pt x="18749" y="5474"/>
                    <a:pt x="18697" y="5484"/>
                    <a:pt x="18646" y="5492"/>
                  </a:cubicBezTo>
                  <a:cubicBezTo>
                    <a:pt x="18626" y="5495"/>
                    <a:pt x="18621" y="5514"/>
                    <a:pt x="18635" y="5529"/>
                  </a:cubicBezTo>
                  <a:cubicBezTo>
                    <a:pt x="18643" y="5538"/>
                    <a:pt x="18654" y="5545"/>
                    <a:pt x="18665" y="5551"/>
                  </a:cubicBezTo>
                  <a:cubicBezTo>
                    <a:pt x="18725" y="5584"/>
                    <a:pt x="18736" y="5640"/>
                    <a:pt x="18732" y="5701"/>
                  </a:cubicBezTo>
                  <a:cubicBezTo>
                    <a:pt x="18730" y="5724"/>
                    <a:pt x="18710" y="5736"/>
                    <a:pt x="18692" y="5721"/>
                  </a:cubicBezTo>
                  <a:cubicBezTo>
                    <a:pt x="18635" y="5675"/>
                    <a:pt x="18561" y="5647"/>
                    <a:pt x="18524" y="5577"/>
                  </a:cubicBezTo>
                  <a:cubicBezTo>
                    <a:pt x="18513" y="5556"/>
                    <a:pt x="18496" y="5548"/>
                    <a:pt x="18475" y="5543"/>
                  </a:cubicBezTo>
                  <a:cubicBezTo>
                    <a:pt x="18429" y="5530"/>
                    <a:pt x="18384" y="5534"/>
                    <a:pt x="18339" y="5545"/>
                  </a:cubicBezTo>
                  <a:cubicBezTo>
                    <a:pt x="18323" y="5548"/>
                    <a:pt x="18303" y="5550"/>
                    <a:pt x="18304" y="5572"/>
                  </a:cubicBezTo>
                  <a:cubicBezTo>
                    <a:pt x="18305" y="5591"/>
                    <a:pt x="18322" y="5592"/>
                    <a:pt x="18336" y="5596"/>
                  </a:cubicBezTo>
                  <a:cubicBezTo>
                    <a:pt x="18354" y="5601"/>
                    <a:pt x="18373" y="5605"/>
                    <a:pt x="18390" y="5613"/>
                  </a:cubicBezTo>
                  <a:cubicBezTo>
                    <a:pt x="18447" y="5640"/>
                    <a:pt x="18482" y="5690"/>
                    <a:pt x="18511" y="5743"/>
                  </a:cubicBezTo>
                  <a:cubicBezTo>
                    <a:pt x="18525" y="5767"/>
                    <a:pt x="18513" y="5786"/>
                    <a:pt x="18485" y="5783"/>
                  </a:cubicBezTo>
                  <a:cubicBezTo>
                    <a:pt x="18429" y="5779"/>
                    <a:pt x="18374" y="5772"/>
                    <a:pt x="18321" y="5749"/>
                  </a:cubicBezTo>
                  <a:cubicBezTo>
                    <a:pt x="18300" y="5739"/>
                    <a:pt x="18284" y="5723"/>
                    <a:pt x="18269" y="5705"/>
                  </a:cubicBezTo>
                  <a:cubicBezTo>
                    <a:pt x="18257" y="5691"/>
                    <a:pt x="18244" y="5677"/>
                    <a:pt x="18230" y="5665"/>
                  </a:cubicBezTo>
                  <a:cubicBezTo>
                    <a:pt x="18157" y="5605"/>
                    <a:pt x="18077" y="5619"/>
                    <a:pt x="17997" y="5680"/>
                  </a:cubicBezTo>
                  <a:cubicBezTo>
                    <a:pt x="17953" y="5713"/>
                    <a:pt x="17909" y="5743"/>
                    <a:pt x="17860" y="5766"/>
                  </a:cubicBezTo>
                  <a:cubicBezTo>
                    <a:pt x="17825" y="5783"/>
                    <a:pt x="17788" y="5786"/>
                    <a:pt x="17752" y="5796"/>
                  </a:cubicBezTo>
                  <a:cubicBezTo>
                    <a:pt x="17738" y="5800"/>
                    <a:pt x="17721" y="5801"/>
                    <a:pt x="17719" y="5819"/>
                  </a:cubicBezTo>
                  <a:cubicBezTo>
                    <a:pt x="17717" y="5838"/>
                    <a:pt x="17733" y="5841"/>
                    <a:pt x="17747" y="5846"/>
                  </a:cubicBezTo>
                  <a:cubicBezTo>
                    <a:pt x="17800" y="5863"/>
                    <a:pt x="17850" y="5890"/>
                    <a:pt x="17900" y="5915"/>
                  </a:cubicBezTo>
                  <a:cubicBezTo>
                    <a:pt x="17924" y="5927"/>
                    <a:pt x="17943" y="5926"/>
                    <a:pt x="17963" y="5910"/>
                  </a:cubicBezTo>
                  <a:cubicBezTo>
                    <a:pt x="17980" y="5895"/>
                    <a:pt x="17999" y="5882"/>
                    <a:pt x="18016" y="5867"/>
                  </a:cubicBezTo>
                  <a:cubicBezTo>
                    <a:pt x="18044" y="5841"/>
                    <a:pt x="18075" y="5836"/>
                    <a:pt x="18109" y="5848"/>
                  </a:cubicBezTo>
                  <a:cubicBezTo>
                    <a:pt x="18184" y="5873"/>
                    <a:pt x="18251" y="5915"/>
                    <a:pt x="18317" y="5958"/>
                  </a:cubicBezTo>
                  <a:cubicBezTo>
                    <a:pt x="18334" y="5970"/>
                    <a:pt x="18332" y="5991"/>
                    <a:pt x="18313" y="5998"/>
                  </a:cubicBezTo>
                  <a:cubicBezTo>
                    <a:pt x="18263" y="6016"/>
                    <a:pt x="18215" y="6045"/>
                    <a:pt x="18158" y="6036"/>
                  </a:cubicBezTo>
                  <a:cubicBezTo>
                    <a:pt x="18148" y="6034"/>
                    <a:pt x="18137" y="6033"/>
                    <a:pt x="18127" y="6031"/>
                  </a:cubicBezTo>
                  <a:cubicBezTo>
                    <a:pt x="18110" y="6029"/>
                    <a:pt x="18091" y="6026"/>
                    <a:pt x="18084" y="6046"/>
                  </a:cubicBezTo>
                  <a:cubicBezTo>
                    <a:pt x="18077" y="6063"/>
                    <a:pt x="18094" y="6071"/>
                    <a:pt x="18105" y="6080"/>
                  </a:cubicBezTo>
                  <a:cubicBezTo>
                    <a:pt x="18142" y="6110"/>
                    <a:pt x="18181" y="6139"/>
                    <a:pt x="18217" y="6170"/>
                  </a:cubicBezTo>
                  <a:cubicBezTo>
                    <a:pt x="18236" y="6187"/>
                    <a:pt x="18258" y="6190"/>
                    <a:pt x="18281" y="6188"/>
                  </a:cubicBezTo>
                  <a:cubicBezTo>
                    <a:pt x="18354" y="6180"/>
                    <a:pt x="18413" y="6218"/>
                    <a:pt x="18476" y="6245"/>
                  </a:cubicBezTo>
                  <a:cubicBezTo>
                    <a:pt x="18490" y="6250"/>
                    <a:pt x="18498" y="6263"/>
                    <a:pt x="18505" y="6276"/>
                  </a:cubicBezTo>
                  <a:cubicBezTo>
                    <a:pt x="18520" y="6304"/>
                    <a:pt x="18536" y="6330"/>
                    <a:pt x="18555" y="6355"/>
                  </a:cubicBezTo>
                  <a:cubicBezTo>
                    <a:pt x="18562" y="6363"/>
                    <a:pt x="18566" y="6373"/>
                    <a:pt x="18569" y="6383"/>
                  </a:cubicBezTo>
                  <a:cubicBezTo>
                    <a:pt x="18578" y="6418"/>
                    <a:pt x="18566" y="6433"/>
                    <a:pt x="18529" y="6434"/>
                  </a:cubicBezTo>
                  <a:cubicBezTo>
                    <a:pt x="18476" y="6434"/>
                    <a:pt x="18434" y="6407"/>
                    <a:pt x="18395" y="6375"/>
                  </a:cubicBezTo>
                  <a:cubicBezTo>
                    <a:pt x="18372" y="6355"/>
                    <a:pt x="18353" y="6329"/>
                    <a:pt x="18326" y="6312"/>
                  </a:cubicBezTo>
                  <a:cubicBezTo>
                    <a:pt x="18316" y="6305"/>
                    <a:pt x="18306" y="6294"/>
                    <a:pt x="18293" y="6303"/>
                  </a:cubicBezTo>
                  <a:cubicBezTo>
                    <a:pt x="18278" y="6312"/>
                    <a:pt x="18278" y="6328"/>
                    <a:pt x="18284" y="6342"/>
                  </a:cubicBezTo>
                  <a:cubicBezTo>
                    <a:pt x="18304" y="6388"/>
                    <a:pt x="18322" y="6434"/>
                    <a:pt x="18346" y="6478"/>
                  </a:cubicBezTo>
                  <a:cubicBezTo>
                    <a:pt x="18387" y="6554"/>
                    <a:pt x="18390" y="6627"/>
                    <a:pt x="18345" y="6702"/>
                  </a:cubicBezTo>
                  <a:cubicBezTo>
                    <a:pt x="18334" y="6720"/>
                    <a:pt x="18327" y="6740"/>
                    <a:pt x="18315" y="6757"/>
                  </a:cubicBezTo>
                  <a:cubicBezTo>
                    <a:pt x="18302" y="6778"/>
                    <a:pt x="18281" y="6779"/>
                    <a:pt x="18273" y="6757"/>
                  </a:cubicBezTo>
                  <a:cubicBezTo>
                    <a:pt x="18255" y="6708"/>
                    <a:pt x="18224" y="6665"/>
                    <a:pt x="18207" y="6617"/>
                  </a:cubicBezTo>
                  <a:cubicBezTo>
                    <a:pt x="18195" y="6584"/>
                    <a:pt x="18205" y="6547"/>
                    <a:pt x="18218" y="6513"/>
                  </a:cubicBezTo>
                  <a:cubicBezTo>
                    <a:pt x="18226" y="6492"/>
                    <a:pt x="18232" y="6470"/>
                    <a:pt x="18239" y="6448"/>
                  </a:cubicBezTo>
                  <a:cubicBezTo>
                    <a:pt x="18244" y="6429"/>
                    <a:pt x="18241" y="6411"/>
                    <a:pt x="18234" y="6393"/>
                  </a:cubicBezTo>
                  <a:cubicBezTo>
                    <a:pt x="18229" y="6383"/>
                    <a:pt x="18225" y="6373"/>
                    <a:pt x="18213" y="6372"/>
                  </a:cubicBezTo>
                  <a:cubicBezTo>
                    <a:pt x="18201" y="6372"/>
                    <a:pt x="18193" y="6379"/>
                    <a:pt x="18188" y="6389"/>
                  </a:cubicBezTo>
                  <a:cubicBezTo>
                    <a:pt x="18175" y="6417"/>
                    <a:pt x="18158" y="6443"/>
                    <a:pt x="18138" y="6467"/>
                  </a:cubicBezTo>
                  <a:cubicBezTo>
                    <a:pt x="18117" y="6492"/>
                    <a:pt x="18089" y="6505"/>
                    <a:pt x="18060" y="6517"/>
                  </a:cubicBezTo>
                  <a:cubicBezTo>
                    <a:pt x="18052" y="6521"/>
                    <a:pt x="18043" y="6520"/>
                    <a:pt x="18037" y="6513"/>
                  </a:cubicBezTo>
                  <a:cubicBezTo>
                    <a:pt x="18031" y="6506"/>
                    <a:pt x="18034" y="6498"/>
                    <a:pt x="18040" y="6491"/>
                  </a:cubicBezTo>
                  <a:cubicBezTo>
                    <a:pt x="18074" y="6455"/>
                    <a:pt x="18074" y="6408"/>
                    <a:pt x="18077" y="6363"/>
                  </a:cubicBezTo>
                  <a:cubicBezTo>
                    <a:pt x="18079" y="6317"/>
                    <a:pt x="18081" y="6272"/>
                    <a:pt x="18104" y="6230"/>
                  </a:cubicBezTo>
                  <a:cubicBezTo>
                    <a:pt x="18136" y="6172"/>
                    <a:pt x="18098" y="6149"/>
                    <a:pt x="18051" y="6127"/>
                  </a:cubicBezTo>
                  <a:cubicBezTo>
                    <a:pt x="18047" y="6125"/>
                    <a:pt x="18039" y="6127"/>
                    <a:pt x="18034" y="6130"/>
                  </a:cubicBezTo>
                  <a:cubicBezTo>
                    <a:pt x="18026" y="6136"/>
                    <a:pt x="18025" y="6147"/>
                    <a:pt x="18030" y="6153"/>
                  </a:cubicBezTo>
                  <a:cubicBezTo>
                    <a:pt x="18078" y="6204"/>
                    <a:pt x="18030" y="6250"/>
                    <a:pt x="18024" y="6299"/>
                  </a:cubicBezTo>
                  <a:cubicBezTo>
                    <a:pt x="18021" y="6314"/>
                    <a:pt x="18009" y="6323"/>
                    <a:pt x="17992" y="6323"/>
                  </a:cubicBezTo>
                  <a:cubicBezTo>
                    <a:pt x="17973" y="6323"/>
                    <a:pt x="17961" y="6316"/>
                    <a:pt x="17954" y="6297"/>
                  </a:cubicBezTo>
                  <a:cubicBezTo>
                    <a:pt x="17931" y="6224"/>
                    <a:pt x="17905" y="6153"/>
                    <a:pt x="17888" y="6078"/>
                  </a:cubicBezTo>
                  <a:cubicBezTo>
                    <a:pt x="17873" y="6013"/>
                    <a:pt x="17836" y="5963"/>
                    <a:pt x="17766" y="5940"/>
                  </a:cubicBezTo>
                  <a:cubicBezTo>
                    <a:pt x="17691" y="5916"/>
                    <a:pt x="17617" y="5889"/>
                    <a:pt x="17537" y="5889"/>
                  </a:cubicBezTo>
                  <a:cubicBezTo>
                    <a:pt x="17507" y="5889"/>
                    <a:pt x="17485" y="5893"/>
                    <a:pt x="17472" y="5924"/>
                  </a:cubicBezTo>
                  <a:cubicBezTo>
                    <a:pt x="17460" y="5953"/>
                    <a:pt x="17437" y="5976"/>
                    <a:pt x="17418" y="6000"/>
                  </a:cubicBezTo>
                  <a:cubicBezTo>
                    <a:pt x="17395" y="6030"/>
                    <a:pt x="17399" y="6048"/>
                    <a:pt x="17434" y="6062"/>
                  </a:cubicBezTo>
                  <a:cubicBezTo>
                    <a:pt x="17467" y="6074"/>
                    <a:pt x="17501" y="6084"/>
                    <a:pt x="17535" y="6094"/>
                  </a:cubicBezTo>
                  <a:cubicBezTo>
                    <a:pt x="17572" y="6105"/>
                    <a:pt x="17594" y="6129"/>
                    <a:pt x="17608" y="6164"/>
                  </a:cubicBezTo>
                  <a:cubicBezTo>
                    <a:pt x="17636" y="6236"/>
                    <a:pt x="17634" y="6311"/>
                    <a:pt x="17632" y="6386"/>
                  </a:cubicBezTo>
                  <a:cubicBezTo>
                    <a:pt x="17631" y="6410"/>
                    <a:pt x="17612" y="6418"/>
                    <a:pt x="17592" y="6402"/>
                  </a:cubicBezTo>
                  <a:cubicBezTo>
                    <a:pt x="17560" y="6379"/>
                    <a:pt x="17530" y="6353"/>
                    <a:pt x="17501" y="6327"/>
                  </a:cubicBezTo>
                  <a:cubicBezTo>
                    <a:pt x="17480" y="6308"/>
                    <a:pt x="17470" y="6283"/>
                    <a:pt x="17467" y="6255"/>
                  </a:cubicBezTo>
                  <a:cubicBezTo>
                    <a:pt x="17464" y="6232"/>
                    <a:pt x="17462" y="6209"/>
                    <a:pt x="17455" y="6187"/>
                  </a:cubicBezTo>
                  <a:cubicBezTo>
                    <a:pt x="17447" y="6156"/>
                    <a:pt x="17431" y="6130"/>
                    <a:pt x="17399" y="6117"/>
                  </a:cubicBezTo>
                  <a:cubicBezTo>
                    <a:pt x="17387" y="6112"/>
                    <a:pt x="17374" y="6109"/>
                    <a:pt x="17365" y="6122"/>
                  </a:cubicBezTo>
                  <a:cubicBezTo>
                    <a:pt x="17359" y="6131"/>
                    <a:pt x="17362" y="6143"/>
                    <a:pt x="17368" y="6151"/>
                  </a:cubicBezTo>
                  <a:cubicBezTo>
                    <a:pt x="17400" y="6188"/>
                    <a:pt x="17414" y="6230"/>
                    <a:pt x="17403" y="6278"/>
                  </a:cubicBezTo>
                  <a:cubicBezTo>
                    <a:pt x="17391" y="6338"/>
                    <a:pt x="17352" y="6382"/>
                    <a:pt x="17313" y="6425"/>
                  </a:cubicBezTo>
                  <a:cubicBezTo>
                    <a:pt x="17297" y="6443"/>
                    <a:pt x="17275" y="6436"/>
                    <a:pt x="17274" y="6411"/>
                  </a:cubicBezTo>
                  <a:cubicBezTo>
                    <a:pt x="17270" y="6338"/>
                    <a:pt x="17255" y="6266"/>
                    <a:pt x="17239" y="6195"/>
                  </a:cubicBezTo>
                  <a:cubicBezTo>
                    <a:pt x="17235" y="6179"/>
                    <a:pt x="17240" y="6163"/>
                    <a:pt x="17244" y="6146"/>
                  </a:cubicBezTo>
                  <a:cubicBezTo>
                    <a:pt x="17252" y="6108"/>
                    <a:pt x="17245" y="6091"/>
                    <a:pt x="17212" y="6075"/>
                  </a:cubicBezTo>
                  <a:cubicBezTo>
                    <a:pt x="17183" y="6060"/>
                    <a:pt x="17152" y="6047"/>
                    <a:pt x="17117" y="6050"/>
                  </a:cubicBezTo>
                  <a:cubicBezTo>
                    <a:pt x="17100" y="6052"/>
                    <a:pt x="17083" y="6053"/>
                    <a:pt x="17075" y="6071"/>
                  </a:cubicBezTo>
                  <a:cubicBezTo>
                    <a:pt x="17068" y="6088"/>
                    <a:pt x="17083" y="6098"/>
                    <a:pt x="17092" y="6108"/>
                  </a:cubicBezTo>
                  <a:cubicBezTo>
                    <a:pt x="17100" y="6116"/>
                    <a:pt x="17107" y="6123"/>
                    <a:pt x="17115" y="6130"/>
                  </a:cubicBezTo>
                  <a:cubicBezTo>
                    <a:pt x="17177" y="6184"/>
                    <a:pt x="17176" y="6253"/>
                    <a:pt x="17164" y="6326"/>
                  </a:cubicBezTo>
                  <a:cubicBezTo>
                    <a:pt x="17162" y="6334"/>
                    <a:pt x="17158" y="6342"/>
                    <a:pt x="17149" y="6344"/>
                  </a:cubicBezTo>
                  <a:cubicBezTo>
                    <a:pt x="17138" y="6347"/>
                    <a:pt x="17126" y="6344"/>
                    <a:pt x="17122" y="6334"/>
                  </a:cubicBezTo>
                  <a:cubicBezTo>
                    <a:pt x="17104" y="6289"/>
                    <a:pt x="17063" y="6265"/>
                    <a:pt x="17030" y="6234"/>
                  </a:cubicBezTo>
                  <a:cubicBezTo>
                    <a:pt x="16994" y="6199"/>
                    <a:pt x="16975" y="6159"/>
                    <a:pt x="16970" y="6108"/>
                  </a:cubicBezTo>
                  <a:cubicBezTo>
                    <a:pt x="16963" y="6028"/>
                    <a:pt x="16878" y="5980"/>
                    <a:pt x="16805" y="6012"/>
                  </a:cubicBezTo>
                  <a:cubicBezTo>
                    <a:pt x="16731" y="6044"/>
                    <a:pt x="16657" y="6078"/>
                    <a:pt x="16599" y="6138"/>
                  </a:cubicBezTo>
                  <a:cubicBezTo>
                    <a:pt x="16567" y="6172"/>
                    <a:pt x="16545" y="6211"/>
                    <a:pt x="16517" y="6247"/>
                  </a:cubicBezTo>
                  <a:cubicBezTo>
                    <a:pt x="16510" y="6257"/>
                    <a:pt x="16506" y="6270"/>
                    <a:pt x="16499" y="6280"/>
                  </a:cubicBezTo>
                  <a:cubicBezTo>
                    <a:pt x="16464" y="6331"/>
                    <a:pt x="16462" y="6332"/>
                    <a:pt x="16497" y="6380"/>
                  </a:cubicBezTo>
                  <a:cubicBezTo>
                    <a:pt x="16522" y="6413"/>
                    <a:pt x="16519" y="6450"/>
                    <a:pt x="16506" y="6481"/>
                  </a:cubicBezTo>
                  <a:cubicBezTo>
                    <a:pt x="16484" y="6533"/>
                    <a:pt x="16509" y="6574"/>
                    <a:pt x="16527" y="6617"/>
                  </a:cubicBezTo>
                  <a:cubicBezTo>
                    <a:pt x="16537" y="6643"/>
                    <a:pt x="16557" y="6644"/>
                    <a:pt x="16575" y="6624"/>
                  </a:cubicBezTo>
                  <a:cubicBezTo>
                    <a:pt x="16589" y="6609"/>
                    <a:pt x="16601" y="6591"/>
                    <a:pt x="16615" y="6576"/>
                  </a:cubicBezTo>
                  <a:cubicBezTo>
                    <a:pt x="16646" y="6544"/>
                    <a:pt x="16706" y="6538"/>
                    <a:pt x="16741" y="6563"/>
                  </a:cubicBezTo>
                  <a:cubicBezTo>
                    <a:pt x="16753" y="6572"/>
                    <a:pt x="16761" y="6585"/>
                    <a:pt x="16766" y="6598"/>
                  </a:cubicBezTo>
                  <a:cubicBezTo>
                    <a:pt x="16776" y="6624"/>
                    <a:pt x="16767" y="6641"/>
                    <a:pt x="16740" y="6639"/>
                  </a:cubicBezTo>
                  <a:cubicBezTo>
                    <a:pt x="16666" y="6631"/>
                    <a:pt x="16629" y="6688"/>
                    <a:pt x="16581" y="6725"/>
                  </a:cubicBezTo>
                  <a:cubicBezTo>
                    <a:pt x="16565" y="6738"/>
                    <a:pt x="16570" y="6760"/>
                    <a:pt x="16564" y="6777"/>
                  </a:cubicBezTo>
                  <a:cubicBezTo>
                    <a:pt x="16559" y="6792"/>
                    <a:pt x="16559" y="6807"/>
                    <a:pt x="16574" y="6816"/>
                  </a:cubicBezTo>
                  <a:cubicBezTo>
                    <a:pt x="16592" y="6827"/>
                    <a:pt x="16599" y="6810"/>
                    <a:pt x="16607" y="6799"/>
                  </a:cubicBezTo>
                  <a:cubicBezTo>
                    <a:pt x="16619" y="6783"/>
                    <a:pt x="16636" y="6778"/>
                    <a:pt x="16651" y="6786"/>
                  </a:cubicBezTo>
                  <a:cubicBezTo>
                    <a:pt x="16682" y="6801"/>
                    <a:pt x="16715" y="6805"/>
                    <a:pt x="16758" y="6814"/>
                  </a:cubicBezTo>
                  <a:cubicBezTo>
                    <a:pt x="16702" y="6871"/>
                    <a:pt x="16666" y="6935"/>
                    <a:pt x="16582" y="6939"/>
                  </a:cubicBezTo>
                  <a:cubicBezTo>
                    <a:pt x="16541" y="6940"/>
                    <a:pt x="16506" y="6982"/>
                    <a:pt x="16505" y="7031"/>
                  </a:cubicBezTo>
                  <a:cubicBezTo>
                    <a:pt x="16505" y="7073"/>
                    <a:pt x="16500" y="7113"/>
                    <a:pt x="16485" y="7153"/>
                  </a:cubicBezTo>
                  <a:cubicBezTo>
                    <a:pt x="16482" y="7160"/>
                    <a:pt x="16482" y="7169"/>
                    <a:pt x="16482" y="7177"/>
                  </a:cubicBezTo>
                  <a:cubicBezTo>
                    <a:pt x="16483" y="7202"/>
                    <a:pt x="16499" y="7215"/>
                    <a:pt x="16519" y="7204"/>
                  </a:cubicBezTo>
                  <a:cubicBezTo>
                    <a:pt x="16620" y="7148"/>
                    <a:pt x="16726" y="7100"/>
                    <a:pt x="16808" y="7012"/>
                  </a:cubicBezTo>
                  <a:cubicBezTo>
                    <a:pt x="16855" y="6963"/>
                    <a:pt x="16874" y="6917"/>
                    <a:pt x="16852" y="6853"/>
                  </a:cubicBezTo>
                  <a:cubicBezTo>
                    <a:pt x="16845" y="6833"/>
                    <a:pt x="16830" y="6808"/>
                    <a:pt x="16857" y="6792"/>
                  </a:cubicBezTo>
                  <a:cubicBezTo>
                    <a:pt x="16882" y="6776"/>
                    <a:pt x="16900" y="6800"/>
                    <a:pt x="16918" y="6812"/>
                  </a:cubicBezTo>
                  <a:cubicBezTo>
                    <a:pt x="16941" y="6828"/>
                    <a:pt x="16965" y="6844"/>
                    <a:pt x="16980" y="6872"/>
                  </a:cubicBezTo>
                  <a:cubicBezTo>
                    <a:pt x="16994" y="6897"/>
                    <a:pt x="17013" y="6895"/>
                    <a:pt x="17037" y="6878"/>
                  </a:cubicBezTo>
                  <a:cubicBezTo>
                    <a:pt x="17077" y="6849"/>
                    <a:pt x="17103" y="6819"/>
                    <a:pt x="17108" y="6764"/>
                  </a:cubicBezTo>
                  <a:cubicBezTo>
                    <a:pt x="17117" y="6675"/>
                    <a:pt x="17189" y="6633"/>
                    <a:pt x="17262" y="6598"/>
                  </a:cubicBezTo>
                  <a:cubicBezTo>
                    <a:pt x="17308" y="6577"/>
                    <a:pt x="17326" y="6589"/>
                    <a:pt x="17331" y="6639"/>
                  </a:cubicBezTo>
                  <a:cubicBezTo>
                    <a:pt x="17333" y="6664"/>
                    <a:pt x="17329" y="6688"/>
                    <a:pt x="17321" y="6712"/>
                  </a:cubicBezTo>
                  <a:cubicBezTo>
                    <a:pt x="17312" y="6737"/>
                    <a:pt x="17295" y="6749"/>
                    <a:pt x="17271" y="6754"/>
                  </a:cubicBezTo>
                  <a:cubicBezTo>
                    <a:pt x="17266" y="6755"/>
                    <a:pt x="17260" y="6760"/>
                    <a:pt x="17256" y="6764"/>
                  </a:cubicBezTo>
                  <a:cubicBezTo>
                    <a:pt x="17246" y="6774"/>
                    <a:pt x="17231" y="6784"/>
                    <a:pt x="17240" y="6801"/>
                  </a:cubicBezTo>
                  <a:cubicBezTo>
                    <a:pt x="17247" y="6814"/>
                    <a:pt x="17261" y="6810"/>
                    <a:pt x="17273" y="6810"/>
                  </a:cubicBezTo>
                  <a:cubicBezTo>
                    <a:pt x="17309" y="6809"/>
                    <a:pt x="17340" y="6789"/>
                    <a:pt x="17375" y="6783"/>
                  </a:cubicBezTo>
                  <a:cubicBezTo>
                    <a:pt x="17391" y="6780"/>
                    <a:pt x="17398" y="6765"/>
                    <a:pt x="17402" y="6750"/>
                  </a:cubicBezTo>
                  <a:cubicBezTo>
                    <a:pt x="17405" y="6736"/>
                    <a:pt x="17405" y="6721"/>
                    <a:pt x="17409" y="6707"/>
                  </a:cubicBezTo>
                  <a:cubicBezTo>
                    <a:pt x="17422" y="6657"/>
                    <a:pt x="17484" y="6605"/>
                    <a:pt x="17536" y="6605"/>
                  </a:cubicBezTo>
                  <a:cubicBezTo>
                    <a:pt x="17605" y="6605"/>
                    <a:pt x="17672" y="6621"/>
                    <a:pt x="17736" y="6647"/>
                  </a:cubicBezTo>
                  <a:cubicBezTo>
                    <a:pt x="17774" y="6662"/>
                    <a:pt x="17774" y="6678"/>
                    <a:pt x="17745" y="6705"/>
                  </a:cubicBezTo>
                  <a:cubicBezTo>
                    <a:pt x="17710" y="6737"/>
                    <a:pt x="17670" y="6747"/>
                    <a:pt x="17624" y="6746"/>
                  </a:cubicBezTo>
                  <a:cubicBezTo>
                    <a:pt x="17599" y="6745"/>
                    <a:pt x="17574" y="6744"/>
                    <a:pt x="17555" y="6766"/>
                  </a:cubicBezTo>
                  <a:cubicBezTo>
                    <a:pt x="17536" y="6788"/>
                    <a:pt x="17538" y="6807"/>
                    <a:pt x="17565" y="6812"/>
                  </a:cubicBezTo>
                  <a:cubicBezTo>
                    <a:pt x="17600" y="6819"/>
                    <a:pt x="17634" y="6829"/>
                    <a:pt x="17670" y="6823"/>
                  </a:cubicBezTo>
                  <a:cubicBezTo>
                    <a:pt x="17748" y="6809"/>
                    <a:pt x="17804" y="6843"/>
                    <a:pt x="17827" y="6919"/>
                  </a:cubicBezTo>
                  <a:cubicBezTo>
                    <a:pt x="17839" y="6954"/>
                    <a:pt x="17854" y="6989"/>
                    <a:pt x="17837" y="7028"/>
                  </a:cubicBezTo>
                  <a:cubicBezTo>
                    <a:pt x="17834" y="7036"/>
                    <a:pt x="17836" y="7049"/>
                    <a:pt x="17840" y="7058"/>
                  </a:cubicBezTo>
                  <a:cubicBezTo>
                    <a:pt x="17876" y="7127"/>
                    <a:pt x="17845" y="7202"/>
                    <a:pt x="17860" y="7273"/>
                  </a:cubicBezTo>
                  <a:cubicBezTo>
                    <a:pt x="17863" y="7291"/>
                    <a:pt x="17852" y="7305"/>
                    <a:pt x="17838" y="7316"/>
                  </a:cubicBezTo>
                  <a:cubicBezTo>
                    <a:pt x="17826" y="7324"/>
                    <a:pt x="17813" y="7332"/>
                    <a:pt x="17801" y="7340"/>
                  </a:cubicBezTo>
                  <a:cubicBezTo>
                    <a:pt x="17790" y="7348"/>
                    <a:pt x="17771" y="7351"/>
                    <a:pt x="17775" y="7370"/>
                  </a:cubicBezTo>
                  <a:cubicBezTo>
                    <a:pt x="17780" y="7390"/>
                    <a:pt x="17799" y="7395"/>
                    <a:pt x="17815" y="7394"/>
                  </a:cubicBezTo>
                  <a:cubicBezTo>
                    <a:pt x="17844" y="7392"/>
                    <a:pt x="17876" y="7392"/>
                    <a:pt x="17900" y="7375"/>
                  </a:cubicBezTo>
                  <a:cubicBezTo>
                    <a:pt x="17967" y="7328"/>
                    <a:pt x="18018" y="7369"/>
                    <a:pt x="18068" y="7405"/>
                  </a:cubicBezTo>
                  <a:cubicBezTo>
                    <a:pt x="18106" y="7434"/>
                    <a:pt x="18137" y="7471"/>
                    <a:pt x="18133" y="7525"/>
                  </a:cubicBezTo>
                  <a:cubicBezTo>
                    <a:pt x="18131" y="7541"/>
                    <a:pt x="18157" y="7556"/>
                    <a:pt x="18143" y="7570"/>
                  </a:cubicBezTo>
                  <a:cubicBezTo>
                    <a:pt x="18125" y="7587"/>
                    <a:pt x="18116" y="7559"/>
                    <a:pt x="18103" y="7554"/>
                  </a:cubicBezTo>
                  <a:cubicBezTo>
                    <a:pt x="18082" y="7546"/>
                    <a:pt x="18062" y="7548"/>
                    <a:pt x="18042" y="7556"/>
                  </a:cubicBezTo>
                  <a:cubicBezTo>
                    <a:pt x="17988" y="7575"/>
                    <a:pt x="17945" y="7554"/>
                    <a:pt x="17908" y="7516"/>
                  </a:cubicBezTo>
                  <a:cubicBezTo>
                    <a:pt x="17895" y="7502"/>
                    <a:pt x="17884" y="7486"/>
                    <a:pt x="17870" y="7474"/>
                  </a:cubicBezTo>
                  <a:cubicBezTo>
                    <a:pt x="17860" y="7465"/>
                    <a:pt x="17846" y="7457"/>
                    <a:pt x="17833" y="7452"/>
                  </a:cubicBezTo>
                  <a:cubicBezTo>
                    <a:pt x="17821" y="7447"/>
                    <a:pt x="17807" y="7449"/>
                    <a:pt x="17800" y="7461"/>
                  </a:cubicBezTo>
                  <a:cubicBezTo>
                    <a:pt x="17792" y="7474"/>
                    <a:pt x="17799" y="7485"/>
                    <a:pt x="17810" y="7493"/>
                  </a:cubicBezTo>
                  <a:cubicBezTo>
                    <a:pt x="17827" y="7505"/>
                    <a:pt x="17843" y="7519"/>
                    <a:pt x="17862" y="7527"/>
                  </a:cubicBezTo>
                  <a:cubicBezTo>
                    <a:pt x="17923" y="7551"/>
                    <a:pt x="17944" y="7662"/>
                    <a:pt x="17926" y="7714"/>
                  </a:cubicBezTo>
                  <a:cubicBezTo>
                    <a:pt x="17916" y="7745"/>
                    <a:pt x="17894" y="7750"/>
                    <a:pt x="17869" y="7728"/>
                  </a:cubicBezTo>
                  <a:cubicBezTo>
                    <a:pt x="17835" y="7697"/>
                    <a:pt x="17803" y="7664"/>
                    <a:pt x="17769" y="7634"/>
                  </a:cubicBezTo>
                  <a:cubicBezTo>
                    <a:pt x="17740" y="7609"/>
                    <a:pt x="17732" y="7574"/>
                    <a:pt x="17719" y="7542"/>
                  </a:cubicBezTo>
                  <a:cubicBezTo>
                    <a:pt x="17698" y="7492"/>
                    <a:pt x="17644" y="7457"/>
                    <a:pt x="17591" y="7467"/>
                  </a:cubicBezTo>
                  <a:cubicBezTo>
                    <a:pt x="17554" y="7473"/>
                    <a:pt x="17519" y="7487"/>
                    <a:pt x="17483" y="7498"/>
                  </a:cubicBezTo>
                  <a:cubicBezTo>
                    <a:pt x="17467" y="7502"/>
                    <a:pt x="17458" y="7514"/>
                    <a:pt x="17460" y="7530"/>
                  </a:cubicBezTo>
                  <a:cubicBezTo>
                    <a:pt x="17462" y="7545"/>
                    <a:pt x="17475" y="7549"/>
                    <a:pt x="17488" y="7550"/>
                  </a:cubicBezTo>
                  <a:cubicBezTo>
                    <a:pt x="17517" y="7555"/>
                    <a:pt x="17545" y="7559"/>
                    <a:pt x="17575" y="7556"/>
                  </a:cubicBezTo>
                  <a:cubicBezTo>
                    <a:pt x="17637" y="7551"/>
                    <a:pt x="17675" y="7591"/>
                    <a:pt x="17708" y="7634"/>
                  </a:cubicBezTo>
                  <a:cubicBezTo>
                    <a:pt x="17730" y="7662"/>
                    <a:pt x="17742" y="7700"/>
                    <a:pt x="17758" y="7734"/>
                  </a:cubicBezTo>
                  <a:cubicBezTo>
                    <a:pt x="17769" y="7758"/>
                    <a:pt x="17758" y="7768"/>
                    <a:pt x="17735" y="7772"/>
                  </a:cubicBezTo>
                  <a:cubicBezTo>
                    <a:pt x="17646" y="7788"/>
                    <a:pt x="17577" y="7751"/>
                    <a:pt x="17516" y="7692"/>
                  </a:cubicBezTo>
                  <a:cubicBezTo>
                    <a:pt x="17496" y="7674"/>
                    <a:pt x="17484" y="7649"/>
                    <a:pt x="17463" y="7631"/>
                  </a:cubicBezTo>
                  <a:cubicBezTo>
                    <a:pt x="17388" y="7565"/>
                    <a:pt x="17317" y="7562"/>
                    <a:pt x="17237" y="7622"/>
                  </a:cubicBezTo>
                  <a:cubicBezTo>
                    <a:pt x="17189" y="7657"/>
                    <a:pt x="17157" y="7705"/>
                    <a:pt x="17129" y="7756"/>
                  </a:cubicBezTo>
                  <a:cubicBezTo>
                    <a:pt x="17115" y="7782"/>
                    <a:pt x="17099" y="7806"/>
                    <a:pt x="17078" y="7826"/>
                  </a:cubicBezTo>
                  <a:cubicBezTo>
                    <a:pt x="17052" y="7850"/>
                    <a:pt x="17028" y="7876"/>
                    <a:pt x="17013" y="7909"/>
                  </a:cubicBezTo>
                  <a:cubicBezTo>
                    <a:pt x="17000" y="7936"/>
                    <a:pt x="16975" y="7953"/>
                    <a:pt x="16954" y="7973"/>
                  </a:cubicBezTo>
                  <a:cubicBezTo>
                    <a:pt x="16920" y="8006"/>
                    <a:pt x="16920" y="8032"/>
                    <a:pt x="16956" y="8061"/>
                  </a:cubicBezTo>
                  <a:cubicBezTo>
                    <a:pt x="16978" y="8079"/>
                    <a:pt x="17003" y="8095"/>
                    <a:pt x="17026" y="8113"/>
                  </a:cubicBezTo>
                  <a:cubicBezTo>
                    <a:pt x="17045" y="8129"/>
                    <a:pt x="17065" y="8126"/>
                    <a:pt x="17071" y="8105"/>
                  </a:cubicBezTo>
                  <a:cubicBezTo>
                    <a:pt x="17086" y="8038"/>
                    <a:pt x="17146" y="8028"/>
                    <a:pt x="17193" y="8003"/>
                  </a:cubicBezTo>
                  <a:cubicBezTo>
                    <a:pt x="17215" y="7991"/>
                    <a:pt x="17239" y="7983"/>
                    <a:pt x="17263" y="7976"/>
                  </a:cubicBezTo>
                  <a:cubicBezTo>
                    <a:pt x="17291" y="7968"/>
                    <a:pt x="17310" y="7978"/>
                    <a:pt x="17312" y="8007"/>
                  </a:cubicBezTo>
                  <a:cubicBezTo>
                    <a:pt x="17320" y="8089"/>
                    <a:pt x="17306" y="8164"/>
                    <a:pt x="17233" y="8218"/>
                  </a:cubicBezTo>
                  <a:cubicBezTo>
                    <a:pt x="17212" y="8232"/>
                    <a:pt x="17191" y="8235"/>
                    <a:pt x="17169" y="8238"/>
                  </a:cubicBezTo>
                  <a:cubicBezTo>
                    <a:pt x="17146" y="8242"/>
                    <a:pt x="17143" y="8256"/>
                    <a:pt x="17153" y="8275"/>
                  </a:cubicBezTo>
                  <a:cubicBezTo>
                    <a:pt x="17157" y="8282"/>
                    <a:pt x="17162" y="8289"/>
                    <a:pt x="17168" y="8294"/>
                  </a:cubicBezTo>
                  <a:cubicBezTo>
                    <a:pt x="17233" y="8358"/>
                    <a:pt x="17249" y="8436"/>
                    <a:pt x="17235" y="8523"/>
                  </a:cubicBezTo>
                  <a:cubicBezTo>
                    <a:pt x="17231" y="8543"/>
                    <a:pt x="17230" y="8564"/>
                    <a:pt x="17245" y="8575"/>
                  </a:cubicBezTo>
                  <a:cubicBezTo>
                    <a:pt x="17289" y="8609"/>
                    <a:pt x="17272" y="8645"/>
                    <a:pt x="17253" y="8681"/>
                  </a:cubicBezTo>
                  <a:cubicBezTo>
                    <a:pt x="17241" y="8704"/>
                    <a:pt x="17213" y="8724"/>
                    <a:pt x="17233" y="8753"/>
                  </a:cubicBezTo>
                  <a:cubicBezTo>
                    <a:pt x="17251" y="8777"/>
                    <a:pt x="17280" y="8762"/>
                    <a:pt x="17304" y="8762"/>
                  </a:cubicBezTo>
                  <a:cubicBezTo>
                    <a:pt x="17360" y="8762"/>
                    <a:pt x="17416" y="8761"/>
                    <a:pt x="17472" y="8762"/>
                  </a:cubicBezTo>
                  <a:cubicBezTo>
                    <a:pt x="17504" y="8762"/>
                    <a:pt x="17535" y="8756"/>
                    <a:pt x="17563" y="8744"/>
                  </a:cubicBezTo>
                  <a:cubicBezTo>
                    <a:pt x="17613" y="8721"/>
                    <a:pt x="17666" y="8710"/>
                    <a:pt x="17719" y="8701"/>
                  </a:cubicBezTo>
                  <a:cubicBezTo>
                    <a:pt x="17808" y="8687"/>
                    <a:pt x="17891" y="8653"/>
                    <a:pt x="17979" y="8635"/>
                  </a:cubicBezTo>
                  <a:cubicBezTo>
                    <a:pt x="18019" y="8626"/>
                    <a:pt x="18060" y="8618"/>
                    <a:pt x="18100" y="8608"/>
                  </a:cubicBezTo>
                  <a:cubicBezTo>
                    <a:pt x="18155" y="8595"/>
                    <a:pt x="18163" y="8584"/>
                    <a:pt x="18169" y="8528"/>
                  </a:cubicBezTo>
                  <a:cubicBezTo>
                    <a:pt x="18172" y="8499"/>
                    <a:pt x="18174" y="8471"/>
                    <a:pt x="18185" y="8443"/>
                  </a:cubicBezTo>
                  <a:cubicBezTo>
                    <a:pt x="18212" y="8372"/>
                    <a:pt x="18271" y="8338"/>
                    <a:pt x="18337" y="8316"/>
                  </a:cubicBezTo>
                  <a:cubicBezTo>
                    <a:pt x="18362" y="8307"/>
                    <a:pt x="18382" y="8320"/>
                    <a:pt x="18378" y="8344"/>
                  </a:cubicBezTo>
                  <a:cubicBezTo>
                    <a:pt x="18371" y="8391"/>
                    <a:pt x="18376" y="8441"/>
                    <a:pt x="18339" y="8479"/>
                  </a:cubicBezTo>
                  <a:cubicBezTo>
                    <a:pt x="18319" y="8500"/>
                    <a:pt x="18309" y="8529"/>
                    <a:pt x="18287" y="8549"/>
                  </a:cubicBezTo>
                  <a:cubicBezTo>
                    <a:pt x="18278" y="8556"/>
                    <a:pt x="18275" y="8567"/>
                    <a:pt x="18282" y="8577"/>
                  </a:cubicBezTo>
                  <a:cubicBezTo>
                    <a:pt x="18288" y="8586"/>
                    <a:pt x="18300" y="8589"/>
                    <a:pt x="18310" y="8584"/>
                  </a:cubicBezTo>
                  <a:cubicBezTo>
                    <a:pt x="18343" y="8571"/>
                    <a:pt x="18375" y="8556"/>
                    <a:pt x="18406" y="8540"/>
                  </a:cubicBezTo>
                  <a:cubicBezTo>
                    <a:pt x="18422" y="8532"/>
                    <a:pt x="18427" y="8515"/>
                    <a:pt x="18429" y="8498"/>
                  </a:cubicBezTo>
                  <a:cubicBezTo>
                    <a:pt x="18433" y="8471"/>
                    <a:pt x="18436" y="8444"/>
                    <a:pt x="18439" y="8417"/>
                  </a:cubicBezTo>
                  <a:cubicBezTo>
                    <a:pt x="18443" y="8378"/>
                    <a:pt x="18460" y="8346"/>
                    <a:pt x="18489" y="8320"/>
                  </a:cubicBezTo>
                  <a:cubicBezTo>
                    <a:pt x="18514" y="8298"/>
                    <a:pt x="18536" y="8273"/>
                    <a:pt x="18561" y="8250"/>
                  </a:cubicBezTo>
                  <a:cubicBezTo>
                    <a:pt x="18578" y="8234"/>
                    <a:pt x="18598" y="8232"/>
                    <a:pt x="18616" y="8251"/>
                  </a:cubicBezTo>
                  <a:cubicBezTo>
                    <a:pt x="18632" y="8267"/>
                    <a:pt x="18649" y="8283"/>
                    <a:pt x="18660" y="8302"/>
                  </a:cubicBezTo>
                  <a:cubicBezTo>
                    <a:pt x="18678" y="8332"/>
                    <a:pt x="18666" y="8370"/>
                    <a:pt x="18633" y="8396"/>
                  </a:cubicBezTo>
                  <a:cubicBezTo>
                    <a:pt x="18614" y="8412"/>
                    <a:pt x="18592" y="8424"/>
                    <a:pt x="18576" y="8444"/>
                  </a:cubicBezTo>
                  <a:cubicBezTo>
                    <a:pt x="18565" y="8460"/>
                    <a:pt x="18555" y="8477"/>
                    <a:pt x="18568" y="8495"/>
                  </a:cubicBezTo>
                  <a:cubicBezTo>
                    <a:pt x="18579" y="8511"/>
                    <a:pt x="18596" y="8513"/>
                    <a:pt x="18613" y="8509"/>
                  </a:cubicBezTo>
                  <a:cubicBezTo>
                    <a:pt x="18637" y="8503"/>
                    <a:pt x="18662" y="8497"/>
                    <a:pt x="18683" y="8483"/>
                  </a:cubicBezTo>
                  <a:cubicBezTo>
                    <a:pt x="18700" y="8472"/>
                    <a:pt x="18719" y="8461"/>
                    <a:pt x="18737" y="8452"/>
                  </a:cubicBezTo>
                  <a:cubicBezTo>
                    <a:pt x="18777" y="8433"/>
                    <a:pt x="18814" y="8437"/>
                    <a:pt x="18847" y="8467"/>
                  </a:cubicBezTo>
                  <a:cubicBezTo>
                    <a:pt x="18908" y="8522"/>
                    <a:pt x="18944" y="8595"/>
                    <a:pt x="18998" y="8666"/>
                  </a:cubicBezTo>
                  <a:cubicBezTo>
                    <a:pt x="18912" y="8678"/>
                    <a:pt x="18841" y="8666"/>
                    <a:pt x="18776" y="8626"/>
                  </a:cubicBezTo>
                  <a:cubicBezTo>
                    <a:pt x="18725" y="8594"/>
                    <a:pt x="18672" y="8587"/>
                    <a:pt x="18614" y="8599"/>
                  </a:cubicBezTo>
                  <a:cubicBezTo>
                    <a:pt x="18602" y="8601"/>
                    <a:pt x="18588" y="8604"/>
                    <a:pt x="18584" y="8618"/>
                  </a:cubicBezTo>
                  <a:cubicBezTo>
                    <a:pt x="18580" y="8634"/>
                    <a:pt x="18595" y="8638"/>
                    <a:pt x="18606" y="8643"/>
                  </a:cubicBezTo>
                  <a:cubicBezTo>
                    <a:pt x="18681" y="8675"/>
                    <a:pt x="18719" y="8738"/>
                    <a:pt x="18744" y="8811"/>
                  </a:cubicBezTo>
                  <a:cubicBezTo>
                    <a:pt x="18754" y="8839"/>
                    <a:pt x="18734" y="8862"/>
                    <a:pt x="18710" y="8848"/>
                  </a:cubicBezTo>
                  <a:cubicBezTo>
                    <a:pt x="18643" y="8809"/>
                    <a:pt x="18564" y="8787"/>
                    <a:pt x="18518" y="8715"/>
                  </a:cubicBezTo>
                  <a:cubicBezTo>
                    <a:pt x="18475" y="8646"/>
                    <a:pt x="18420" y="8626"/>
                    <a:pt x="18343" y="8646"/>
                  </a:cubicBezTo>
                  <a:cubicBezTo>
                    <a:pt x="18322" y="8652"/>
                    <a:pt x="18302" y="8656"/>
                    <a:pt x="18282" y="8662"/>
                  </a:cubicBezTo>
                  <a:cubicBezTo>
                    <a:pt x="18258" y="8671"/>
                    <a:pt x="18257" y="8685"/>
                    <a:pt x="18277" y="8704"/>
                  </a:cubicBezTo>
                  <a:cubicBezTo>
                    <a:pt x="18291" y="8717"/>
                    <a:pt x="18309" y="8722"/>
                    <a:pt x="18326" y="8730"/>
                  </a:cubicBezTo>
                  <a:cubicBezTo>
                    <a:pt x="18369" y="8750"/>
                    <a:pt x="18403" y="8778"/>
                    <a:pt x="18415" y="8827"/>
                  </a:cubicBezTo>
                  <a:cubicBezTo>
                    <a:pt x="18424" y="8862"/>
                    <a:pt x="18421" y="8866"/>
                    <a:pt x="18386" y="8863"/>
                  </a:cubicBezTo>
                  <a:cubicBezTo>
                    <a:pt x="18304" y="8857"/>
                    <a:pt x="18250" y="8805"/>
                    <a:pt x="18196" y="8753"/>
                  </a:cubicBezTo>
                  <a:cubicBezTo>
                    <a:pt x="18173" y="8731"/>
                    <a:pt x="18154" y="8707"/>
                    <a:pt x="18118" y="8708"/>
                  </a:cubicBezTo>
                  <a:cubicBezTo>
                    <a:pt x="18064" y="8710"/>
                    <a:pt x="18008" y="8703"/>
                    <a:pt x="17959" y="8731"/>
                  </a:cubicBezTo>
                  <a:cubicBezTo>
                    <a:pt x="17920" y="8753"/>
                    <a:pt x="17920" y="8780"/>
                    <a:pt x="17962" y="8798"/>
                  </a:cubicBezTo>
                  <a:cubicBezTo>
                    <a:pt x="18004" y="8817"/>
                    <a:pt x="18042" y="8842"/>
                    <a:pt x="18080" y="8867"/>
                  </a:cubicBezTo>
                  <a:cubicBezTo>
                    <a:pt x="18105" y="8883"/>
                    <a:pt x="18133" y="8890"/>
                    <a:pt x="18162" y="8874"/>
                  </a:cubicBezTo>
                  <a:cubicBezTo>
                    <a:pt x="18196" y="8855"/>
                    <a:pt x="18230" y="8858"/>
                    <a:pt x="18264" y="8874"/>
                  </a:cubicBezTo>
                  <a:cubicBezTo>
                    <a:pt x="18320" y="8902"/>
                    <a:pt x="18378" y="8925"/>
                    <a:pt x="18430" y="8960"/>
                  </a:cubicBezTo>
                  <a:cubicBezTo>
                    <a:pt x="18437" y="8964"/>
                    <a:pt x="18444" y="8969"/>
                    <a:pt x="18450" y="8975"/>
                  </a:cubicBezTo>
                  <a:cubicBezTo>
                    <a:pt x="18479" y="9002"/>
                    <a:pt x="18477" y="9019"/>
                    <a:pt x="18442" y="9035"/>
                  </a:cubicBezTo>
                  <a:cubicBezTo>
                    <a:pt x="18387" y="9060"/>
                    <a:pt x="18332" y="9055"/>
                    <a:pt x="18281" y="9025"/>
                  </a:cubicBezTo>
                  <a:cubicBezTo>
                    <a:pt x="18264" y="9015"/>
                    <a:pt x="18250" y="9003"/>
                    <a:pt x="18230" y="9003"/>
                  </a:cubicBezTo>
                  <a:cubicBezTo>
                    <a:pt x="18219" y="9003"/>
                    <a:pt x="18210" y="9006"/>
                    <a:pt x="18205" y="9017"/>
                  </a:cubicBezTo>
                  <a:cubicBezTo>
                    <a:pt x="18201" y="9026"/>
                    <a:pt x="18204" y="9033"/>
                    <a:pt x="18210" y="9039"/>
                  </a:cubicBezTo>
                  <a:cubicBezTo>
                    <a:pt x="18239" y="9066"/>
                    <a:pt x="18267" y="9095"/>
                    <a:pt x="18298" y="9120"/>
                  </a:cubicBezTo>
                  <a:cubicBezTo>
                    <a:pt x="18317" y="9136"/>
                    <a:pt x="18343" y="9137"/>
                    <a:pt x="18369" y="9136"/>
                  </a:cubicBezTo>
                  <a:cubicBezTo>
                    <a:pt x="18419" y="9135"/>
                    <a:pt x="18468" y="9133"/>
                    <a:pt x="18517" y="9148"/>
                  </a:cubicBezTo>
                  <a:cubicBezTo>
                    <a:pt x="18555" y="9160"/>
                    <a:pt x="18584" y="9181"/>
                    <a:pt x="18613" y="9205"/>
                  </a:cubicBezTo>
                  <a:cubicBezTo>
                    <a:pt x="18622" y="9213"/>
                    <a:pt x="18632" y="9222"/>
                    <a:pt x="18627" y="9237"/>
                  </a:cubicBezTo>
                  <a:cubicBezTo>
                    <a:pt x="18623" y="9250"/>
                    <a:pt x="18613" y="9260"/>
                    <a:pt x="18600" y="9259"/>
                  </a:cubicBezTo>
                  <a:cubicBezTo>
                    <a:pt x="18539" y="9257"/>
                    <a:pt x="18476" y="9287"/>
                    <a:pt x="18419" y="9243"/>
                  </a:cubicBezTo>
                  <a:cubicBezTo>
                    <a:pt x="18415" y="9239"/>
                    <a:pt x="18408" y="9237"/>
                    <a:pt x="18402" y="9237"/>
                  </a:cubicBezTo>
                  <a:cubicBezTo>
                    <a:pt x="18384" y="9236"/>
                    <a:pt x="18361" y="9226"/>
                    <a:pt x="18350" y="9246"/>
                  </a:cubicBezTo>
                  <a:cubicBezTo>
                    <a:pt x="18340" y="9263"/>
                    <a:pt x="18360" y="9276"/>
                    <a:pt x="18371" y="9287"/>
                  </a:cubicBezTo>
                  <a:cubicBezTo>
                    <a:pt x="18404" y="9318"/>
                    <a:pt x="18438" y="9349"/>
                    <a:pt x="18472" y="9379"/>
                  </a:cubicBezTo>
                  <a:cubicBezTo>
                    <a:pt x="18513" y="9415"/>
                    <a:pt x="18531" y="9459"/>
                    <a:pt x="18532" y="9512"/>
                  </a:cubicBezTo>
                  <a:cubicBezTo>
                    <a:pt x="18533" y="9551"/>
                    <a:pt x="18535" y="9591"/>
                    <a:pt x="18528" y="9630"/>
                  </a:cubicBezTo>
                  <a:cubicBezTo>
                    <a:pt x="18522" y="9663"/>
                    <a:pt x="18505" y="9671"/>
                    <a:pt x="18475" y="9655"/>
                  </a:cubicBezTo>
                  <a:cubicBezTo>
                    <a:pt x="18426" y="9630"/>
                    <a:pt x="18386" y="9593"/>
                    <a:pt x="18356" y="9547"/>
                  </a:cubicBezTo>
                  <a:cubicBezTo>
                    <a:pt x="18332" y="9511"/>
                    <a:pt x="18336" y="9467"/>
                    <a:pt x="18336" y="9426"/>
                  </a:cubicBezTo>
                  <a:cubicBezTo>
                    <a:pt x="18336" y="9392"/>
                    <a:pt x="18335" y="9359"/>
                    <a:pt x="18323" y="9327"/>
                  </a:cubicBezTo>
                  <a:cubicBezTo>
                    <a:pt x="18316" y="9307"/>
                    <a:pt x="18305" y="9290"/>
                    <a:pt x="18284" y="9282"/>
                  </a:cubicBezTo>
                  <a:cubicBezTo>
                    <a:pt x="18263" y="9273"/>
                    <a:pt x="18247" y="9283"/>
                    <a:pt x="18255" y="9304"/>
                  </a:cubicBezTo>
                  <a:cubicBezTo>
                    <a:pt x="18282" y="9379"/>
                    <a:pt x="18225" y="9412"/>
                    <a:pt x="18183" y="9453"/>
                  </a:cubicBezTo>
                  <a:cubicBezTo>
                    <a:pt x="18173" y="9463"/>
                    <a:pt x="18160" y="9465"/>
                    <a:pt x="18148" y="9459"/>
                  </a:cubicBezTo>
                  <a:cubicBezTo>
                    <a:pt x="18135" y="9452"/>
                    <a:pt x="18138" y="9438"/>
                    <a:pt x="18137" y="9426"/>
                  </a:cubicBezTo>
                  <a:cubicBezTo>
                    <a:pt x="18135" y="9349"/>
                    <a:pt x="18149" y="9277"/>
                    <a:pt x="18199" y="9216"/>
                  </a:cubicBezTo>
                  <a:cubicBezTo>
                    <a:pt x="18223" y="9186"/>
                    <a:pt x="18214" y="9156"/>
                    <a:pt x="18199" y="9128"/>
                  </a:cubicBezTo>
                  <a:cubicBezTo>
                    <a:pt x="18189" y="9110"/>
                    <a:pt x="18174" y="9095"/>
                    <a:pt x="18160" y="9079"/>
                  </a:cubicBezTo>
                  <a:cubicBezTo>
                    <a:pt x="18151" y="9069"/>
                    <a:pt x="18139" y="9058"/>
                    <a:pt x="18123" y="9066"/>
                  </a:cubicBezTo>
                  <a:cubicBezTo>
                    <a:pt x="18107" y="9073"/>
                    <a:pt x="18103" y="9089"/>
                    <a:pt x="18106" y="9103"/>
                  </a:cubicBezTo>
                  <a:cubicBezTo>
                    <a:pt x="18124" y="9190"/>
                    <a:pt x="18057" y="9223"/>
                    <a:pt x="18004" y="9265"/>
                  </a:cubicBezTo>
                  <a:cubicBezTo>
                    <a:pt x="17989" y="9278"/>
                    <a:pt x="17975" y="9272"/>
                    <a:pt x="17969" y="9256"/>
                  </a:cubicBezTo>
                  <a:cubicBezTo>
                    <a:pt x="17954" y="9215"/>
                    <a:pt x="17936" y="9176"/>
                    <a:pt x="17958" y="9130"/>
                  </a:cubicBezTo>
                  <a:cubicBezTo>
                    <a:pt x="17975" y="9095"/>
                    <a:pt x="17985" y="9057"/>
                    <a:pt x="18002" y="9021"/>
                  </a:cubicBezTo>
                  <a:cubicBezTo>
                    <a:pt x="18027" y="8970"/>
                    <a:pt x="18017" y="8932"/>
                    <a:pt x="17973" y="8894"/>
                  </a:cubicBezTo>
                  <a:cubicBezTo>
                    <a:pt x="17962" y="8884"/>
                    <a:pt x="17950" y="8875"/>
                    <a:pt x="17939" y="8865"/>
                  </a:cubicBezTo>
                  <a:cubicBezTo>
                    <a:pt x="17855" y="8786"/>
                    <a:pt x="17760" y="8780"/>
                    <a:pt x="17657" y="8821"/>
                  </a:cubicBezTo>
                  <a:cubicBezTo>
                    <a:pt x="17609" y="8840"/>
                    <a:pt x="17559" y="8857"/>
                    <a:pt x="17514" y="8882"/>
                  </a:cubicBezTo>
                  <a:cubicBezTo>
                    <a:pt x="17484" y="8899"/>
                    <a:pt x="17449" y="8895"/>
                    <a:pt x="17416" y="8890"/>
                  </a:cubicBezTo>
                  <a:cubicBezTo>
                    <a:pt x="17308" y="8877"/>
                    <a:pt x="17205" y="8887"/>
                    <a:pt x="17112" y="8950"/>
                  </a:cubicBezTo>
                  <a:cubicBezTo>
                    <a:pt x="17091" y="8964"/>
                    <a:pt x="17068" y="8974"/>
                    <a:pt x="17047" y="8987"/>
                  </a:cubicBezTo>
                  <a:cubicBezTo>
                    <a:pt x="17017" y="9006"/>
                    <a:pt x="16985" y="9025"/>
                    <a:pt x="16966" y="9054"/>
                  </a:cubicBezTo>
                  <a:cubicBezTo>
                    <a:pt x="16921" y="9122"/>
                    <a:pt x="16867" y="9183"/>
                    <a:pt x="16840" y="9262"/>
                  </a:cubicBezTo>
                  <a:cubicBezTo>
                    <a:pt x="16830" y="9292"/>
                    <a:pt x="16830" y="9323"/>
                    <a:pt x="16823" y="9353"/>
                  </a:cubicBezTo>
                  <a:cubicBezTo>
                    <a:pt x="16809" y="9406"/>
                    <a:pt x="16789" y="9456"/>
                    <a:pt x="16758" y="9501"/>
                  </a:cubicBezTo>
                  <a:cubicBezTo>
                    <a:pt x="16748" y="9514"/>
                    <a:pt x="16737" y="9529"/>
                    <a:pt x="16742" y="9546"/>
                  </a:cubicBezTo>
                  <a:cubicBezTo>
                    <a:pt x="16754" y="9585"/>
                    <a:pt x="16742" y="9620"/>
                    <a:pt x="16731" y="9656"/>
                  </a:cubicBezTo>
                  <a:cubicBezTo>
                    <a:pt x="16727" y="9670"/>
                    <a:pt x="16721" y="9685"/>
                    <a:pt x="16736" y="9696"/>
                  </a:cubicBezTo>
                  <a:cubicBezTo>
                    <a:pt x="16750" y="9706"/>
                    <a:pt x="16765" y="9701"/>
                    <a:pt x="16776" y="9691"/>
                  </a:cubicBezTo>
                  <a:cubicBezTo>
                    <a:pt x="16804" y="9667"/>
                    <a:pt x="16837" y="9656"/>
                    <a:pt x="16870" y="9642"/>
                  </a:cubicBezTo>
                  <a:cubicBezTo>
                    <a:pt x="16913" y="9624"/>
                    <a:pt x="16955" y="9631"/>
                    <a:pt x="16998" y="9644"/>
                  </a:cubicBezTo>
                  <a:cubicBezTo>
                    <a:pt x="17022" y="9652"/>
                    <a:pt x="17029" y="9669"/>
                    <a:pt x="17011" y="9686"/>
                  </a:cubicBezTo>
                  <a:cubicBezTo>
                    <a:pt x="16972" y="9723"/>
                    <a:pt x="16932" y="9760"/>
                    <a:pt x="16872" y="9761"/>
                  </a:cubicBezTo>
                  <a:cubicBezTo>
                    <a:pt x="16852" y="9761"/>
                    <a:pt x="16831" y="9762"/>
                    <a:pt x="16811" y="9768"/>
                  </a:cubicBezTo>
                  <a:cubicBezTo>
                    <a:pt x="16758" y="9786"/>
                    <a:pt x="16743" y="9807"/>
                    <a:pt x="16743" y="9864"/>
                  </a:cubicBezTo>
                  <a:cubicBezTo>
                    <a:pt x="16743" y="9895"/>
                    <a:pt x="16738" y="9926"/>
                    <a:pt x="16736" y="9957"/>
                  </a:cubicBezTo>
                  <a:cubicBezTo>
                    <a:pt x="16735" y="9970"/>
                    <a:pt x="16737" y="9983"/>
                    <a:pt x="16750" y="9990"/>
                  </a:cubicBezTo>
                  <a:cubicBezTo>
                    <a:pt x="16763" y="9998"/>
                    <a:pt x="16774" y="9990"/>
                    <a:pt x="16783" y="9981"/>
                  </a:cubicBezTo>
                  <a:cubicBezTo>
                    <a:pt x="16848" y="9912"/>
                    <a:pt x="16940" y="9900"/>
                    <a:pt x="17023" y="9871"/>
                  </a:cubicBezTo>
                  <a:cubicBezTo>
                    <a:pt x="17035" y="9866"/>
                    <a:pt x="17048" y="9865"/>
                    <a:pt x="17060" y="9862"/>
                  </a:cubicBezTo>
                  <a:cubicBezTo>
                    <a:pt x="17115" y="9844"/>
                    <a:pt x="17121" y="9833"/>
                    <a:pt x="17115" y="9775"/>
                  </a:cubicBezTo>
                  <a:cubicBezTo>
                    <a:pt x="17111" y="9746"/>
                    <a:pt x="17105" y="9717"/>
                    <a:pt x="17105" y="9688"/>
                  </a:cubicBezTo>
                  <a:cubicBezTo>
                    <a:pt x="17105" y="9629"/>
                    <a:pt x="17123" y="9579"/>
                    <a:pt x="17179" y="9547"/>
                  </a:cubicBezTo>
                  <a:cubicBezTo>
                    <a:pt x="17195" y="9538"/>
                    <a:pt x="17208" y="9524"/>
                    <a:pt x="17223" y="9512"/>
                  </a:cubicBezTo>
                  <a:cubicBezTo>
                    <a:pt x="17257" y="9486"/>
                    <a:pt x="17276" y="9492"/>
                    <a:pt x="17282" y="9532"/>
                  </a:cubicBezTo>
                  <a:cubicBezTo>
                    <a:pt x="17295" y="9615"/>
                    <a:pt x="17309" y="9699"/>
                    <a:pt x="17241" y="9768"/>
                  </a:cubicBezTo>
                  <a:cubicBezTo>
                    <a:pt x="17232" y="9777"/>
                    <a:pt x="17226" y="9790"/>
                    <a:pt x="17234" y="9802"/>
                  </a:cubicBezTo>
                  <a:cubicBezTo>
                    <a:pt x="17241" y="9815"/>
                    <a:pt x="17255" y="9813"/>
                    <a:pt x="17267" y="9811"/>
                  </a:cubicBezTo>
                  <a:cubicBezTo>
                    <a:pt x="17324" y="9802"/>
                    <a:pt x="17375" y="9777"/>
                    <a:pt x="17419" y="9744"/>
                  </a:cubicBezTo>
                  <a:cubicBezTo>
                    <a:pt x="17447" y="9723"/>
                    <a:pt x="17436" y="9685"/>
                    <a:pt x="17421" y="9657"/>
                  </a:cubicBezTo>
                  <a:cubicBezTo>
                    <a:pt x="17403" y="9623"/>
                    <a:pt x="17393" y="9587"/>
                    <a:pt x="17381" y="9552"/>
                  </a:cubicBezTo>
                  <a:cubicBezTo>
                    <a:pt x="17367" y="9515"/>
                    <a:pt x="17370" y="9479"/>
                    <a:pt x="17391" y="9445"/>
                  </a:cubicBezTo>
                  <a:cubicBezTo>
                    <a:pt x="17410" y="9414"/>
                    <a:pt x="17414" y="9378"/>
                    <a:pt x="17428" y="9346"/>
                  </a:cubicBezTo>
                  <a:cubicBezTo>
                    <a:pt x="17443" y="9313"/>
                    <a:pt x="17456" y="9310"/>
                    <a:pt x="17485" y="9332"/>
                  </a:cubicBezTo>
                  <a:cubicBezTo>
                    <a:pt x="17499" y="9342"/>
                    <a:pt x="17511" y="9352"/>
                    <a:pt x="17524" y="9364"/>
                  </a:cubicBezTo>
                  <a:cubicBezTo>
                    <a:pt x="17577" y="9414"/>
                    <a:pt x="17587" y="9475"/>
                    <a:pt x="17550" y="9538"/>
                  </a:cubicBezTo>
                  <a:cubicBezTo>
                    <a:pt x="17537" y="9560"/>
                    <a:pt x="17527" y="9583"/>
                    <a:pt x="17518" y="9606"/>
                  </a:cubicBezTo>
                  <a:cubicBezTo>
                    <a:pt x="17514" y="9618"/>
                    <a:pt x="17514" y="9631"/>
                    <a:pt x="17527" y="9639"/>
                  </a:cubicBezTo>
                  <a:cubicBezTo>
                    <a:pt x="17540" y="9646"/>
                    <a:pt x="17552" y="9643"/>
                    <a:pt x="17562" y="9634"/>
                  </a:cubicBezTo>
                  <a:cubicBezTo>
                    <a:pt x="17598" y="9600"/>
                    <a:pt x="17631" y="9561"/>
                    <a:pt x="17670" y="9531"/>
                  </a:cubicBezTo>
                  <a:cubicBezTo>
                    <a:pt x="17723" y="9490"/>
                    <a:pt x="17781" y="9456"/>
                    <a:pt x="17853" y="9465"/>
                  </a:cubicBezTo>
                  <a:cubicBezTo>
                    <a:pt x="17910" y="9473"/>
                    <a:pt x="17957" y="9507"/>
                    <a:pt x="18009" y="9527"/>
                  </a:cubicBezTo>
                  <a:cubicBezTo>
                    <a:pt x="18030" y="9535"/>
                    <a:pt x="18026" y="9556"/>
                    <a:pt x="18010" y="9567"/>
                  </a:cubicBezTo>
                  <a:cubicBezTo>
                    <a:pt x="17953" y="9608"/>
                    <a:pt x="17889" y="9634"/>
                    <a:pt x="17818" y="9618"/>
                  </a:cubicBezTo>
                  <a:cubicBezTo>
                    <a:pt x="17778" y="9610"/>
                    <a:pt x="17739" y="9608"/>
                    <a:pt x="17700" y="9612"/>
                  </a:cubicBezTo>
                  <a:cubicBezTo>
                    <a:pt x="17646" y="9619"/>
                    <a:pt x="17618" y="9665"/>
                    <a:pt x="17586" y="9702"/>
                  </a:cubicBezTo>
                  <a:cubicBezTo>
                    <a:pt x="17575" y="9715"/>
                    <a:pt x="17588" y="9725"/>
                    <a:pt x="17601" y="9727"/>
                  </a:cubicBezTo>
                  <a:cubicBezTo>
                    <a:pt x="17611" y="9729"/>
                    <a:pt x="17622" y="9725"/>
                    <a:pt x="17632" y="9724"/>
                  </a:cubicBezTo>
                  <a:cubicBezTo>
                    <a:pt x="17693" y="9716"/>
                    <a:pt x="17748" y="9731"/>
                    <a:pt x="17797" y="9765"/>
                  </a:cubicBezTo>
                  <a:cubicBezTo>
                    <a:pt x="17838" y="9793"/>
                    <a:pt x="17839" y="9820"/>
                    <a:pt x="17797" y="9847"/>
                  </a:cubicBezTo>
                  <a:cubicBezTo>
                    <a:pt x="17738" y="9885"/>
                    <a:pt x="17676" y="9911"/>
                    <a:pt x="17603" y="9893"/>
                  </a:cubicBezTo>
                  <a:cubicBezTo>
                    <a:pt x="17568" y="9885"/>
                    <a:pt x="17543" y="9865"/>
                    <a:pt x="17518" y="9843"/>
                  </a:cubicBezTo>
                  <a:cubicBezTo>
                    <a:pt x="17494" y="9821"/>
                    <a:pt x="17471" y="9810"/>
                    <a:pt x="17435" y="9828"/>
                  </a:cubicBezTo>
                  <a:cubicBezTo>
                    <a:pt x="17402" y="9844"/>
                    <a:pt x="17366" y="9859"/>
                    <a:pt x="17328" y="9862"/>
                  </a:cubicBezTo>
                  <a:cubicBezTo>
                    <a:pt x="17318" y="9862"/>
                    <a:pt x="17308" y="9868"/>
                    <a:pt x="17299" y="9872"/>
                  </a:cubicBezTo>
                  <a:cubicBezTo>
                    <a:pt x="17240" y="9902"/>
                    <a:pt x="17239" y="9915"/>
                    <a:pt x="17294" y="9955"/>
                  </a:cubicBezTo>
                  <a:cubicBezTo>
                    <a:pt x="17340" y="9988"/>
                    <a:pt x="17384" y="10022"/>
                    <a:pt x="17412" y="10073"/>
                  </a:cubicBezTo>
                  <a:cubicBezTo>
                    <a:pt x="17426" y="10098"/>
                    <a:pt x="17448" y="10106"/>
                    <a:pt x="17475" y="10103"/>
                  </a:cubicBezTo>
                  <a:cubicBezTo>
                    <a:pt x="17498" y="10100"/>
                    <a:pt x="17521" y="10097"/>
                    <a:pt x="17544" y="10097"/>
                  </a:cubicBezTo>
                  <a:cubicBezTo>
                    <a:pt x="17573" y="10096"/>
                    <a:pt x="17578" y="10104"/>
                    <a:pt x="17577" y="10134"/>
                  </a:cubicBezTo>
                  <a:cubicBezTo>
                    <a:pt x="17576" y="10201"/>
                    <a:pt x="17548" y="10254"/>
                    <a:pt x="17498" y="10297"/>
                  </a:cubicBezTo>
                  <a:cubicBezTo>
                    <a:pt x="17490" y="10303"/>
                    <a:pt x="17482" y="10310"/>
                    <a:pt x="17474" y="10316"/>
                  </a:cubicBezTo>
                  <a:cubicBezTo>
                    <a:pt x="17465" y="10323"/>
                    <a:pt x="17457" y="10332"/>
                    <a:pt x="17460" y="10343"/>
                  </a:cubicBezTo>
                  <a:cubicBezTo>
                    <a:pt x="17464" y="10358"/>
                    <a:pt x="17477" y="10358"/>
                    <a:pt x="17490" y="10359"/>
                  </a:cubicBezTo>
                  <a:cubicBezTo>
                    <a:pt x="17542" y="10363"/>
                    <a:pt x="17593" y="10345"/>
                    <a:pt x="17645" y="10348"/>
                  </a:cubicBezTo>
                  <a:cubicBezTo>
                    <a:pt x="17671" y="10349"/>
                    <a:pt x="17684" y="10327"/>
                    <a:pt x="17694" y="10306"/>
                  </a:cubicBezTo>
                  <a:cubicBezTo>
                    <a:pt x="17717" y="10252"/>
                    <a:pt x="17758" y="10216"/>
                    <a:pt x="17804" y="10182"/>
                  </a:cubicBezTo>
                  <a:cubicBezTo>
                    <a:pt x="17841" y="10154"/>
                    <a:pt x="17881" y="10150"/>
                    <a:pt x="17921" y="10146"/>
                  </a:cubicBezTo>
                  <a:cubicBezTo>
                    <a:pt x="17955" y="10143"/>
                    <a:pt x="17969" y="10162"/>
                    <a:pt x="17969" y="10197"/>
                  </a:cubicBezTo>
                  <a:cubicBezTo>
                    <a:pt x="17969" y="10254"/>
                    <a:pt x="17916" y="10322"/>
                    <a:pt x="17861" y="10335"/>
                  </a:cubicBezTo>
                  <a:cubicBezTo>
                    <a:pt x="17839" y="10340"/>
                    <a:pt x="17816" y="10345"/>
                    <a:pt x="17794" y="10350"/>
                  </a:cubicBezTo>
                  <a:cubicBezTo>
                    <a:pt x="17783" y="10353"/>
                    <a:pt x="17776" y="10360"/>
                    <a:pt x="17774" y="10372"/>
                  </a:cubicBezTo>
                  <a:cubicBezTo>
                    <a:pt x="17773" y="10383"/>
                    <a:pt x="17780" y="10391"/>
                    <a:pt x="17789" y="10398"/>
                  </a:cubicBezTo>
                  <a:cubicBezTo>
                    <a:pt x="17815" y="10415"/>
                    <a:pt x="17846" y="10415"/>
                    <a:pt x="17874" y="10412"/>
                  </a:cubicBezTo>
                  <a:cubicBezTo>
                    <a:pt x="17933" y="10404"/>
                    <a:pt x="17979" y="10425"/>
                    <a:pt x="18019" y="10466"/>
                  </a:cubicBezTo>
                  <a:cubicBezTo>
                    <a:pt x="18029" y="10477"/>
                    <a:pt x="18040" y="10487"/>
                    <a:pt x="18053" y="10493"/>
                  </a:cubicBezTo>
                  <a:cubicBezTo>
                    <a:pt x="18117" y="10525"/>
                    <a:pt x="18124" y="10585"/>
                    <a:pt x="18130" y="10646"/>
                  </a:cubicBezTo>
                  <a:cubicBezTo>
                    <a:pt x="18132" y="10668"/>
                    <a:pt x="18116" y="10677"/>
                    <a:pt x="18097" y="10670"/>
                  </a:cubicBezTo>
                  <a:cubicBezTo>
                    <a:pt x="18029" y="10645"/>
                    <a:pt x="17956" y="10628"/>
                    <a:pt x="17920" y="10554"/>
                  </a:cubicBezTo>
                  <a:cubicBezTo>
                    <a:pt x="17896" y="10505"/>
                    <a:pt x="17845" y="10490"/>
                    <a:pt x="17802" y="10466"/>
                  </a:cubicBezTo>
                  <a:cubicBezTo>
                    <a:pt x="17792" y="10460"/>
                    <a:pt x="17777" y="10462"/>
                    <a:pt x="17768" y="10473"/>
                  </a:cubicBezTo>
                  <a:cubicBezTo>
                    <a:pt x="17761" y="10482"/>
                    <a:pt x="17762" y="10493"/>
                    <a:pt x="17768" y="10503"/>
                  </a:cubicBezTo>
                  <a:cubicBezTo>
                    <a:pt x="17775" y="10516"/>
                    <a:pt x="17782" y="10528"/>
                    <a:pt x="17790" y="10540"/>
                  </a:cubicBezTo>
                  <a:cubicBezTo>
                    <a:pt x="17815" y="10577"/>
                    <a:pt x="17816" y="10618"/>
                    <a:pt x="17815" y="10660"/>
                  </a:cubicBezTo>
                  <a:cubicBezTo>
                    <a:pt x="17815" y="10687"/>
                    <a:pt x="17798" y="10695"/>
                    <a:pt x="17777" y="10702"/>
                  </a:cubicBezTo>
                  <a:cubicBezTo>
                    <a:pt x="17756" y="10709"/>
                    <a:pt x="17746" y="10697"/>
                    <a:pt x="17736" y="10683"/>
                  </a:cubicBezTo>
                  <a:cubicBezTo>
                    <a:pt x="17701" y="10631"/>
                    <a:pt x="17667" y="10578"/>
                    <a:pt x="17680" y="10510"/>
                  </a:cubicBezTo>
                  <a:cubicBezTo>
                    <a:pt x="17685" y="10482"/>
                    <a:pt x="17672" y="10463"/>
                    <a:pt x="17649" y="10447"/>
                  </a:cubicBezTo>
                  <a:cubicBezTo>
                    <a:pt x="17585" y="10401"/>
                    <a:pt x="17517" y="10406"/>
                    <a:pt x="17447" y="10429"/>
                  </a:cubicBezTo>
                  <a:cubicBezTo>
                    <a:pt x="17439" y="10432"/>
                    <a:pt x="17433" y="10437"/>
                    <a:pt x="17431" y="10446"/>
                  </a:cubicBezTo>
                  <a:cubicBezTo>
                    <a:pt x="17429" y="10459"/>
                    <a:pt x="17437" y="10465"/>
                    <a:pt x="17447" y="10469"/>
                  </a:cubicBezTo>
                  <a:cubicBezTo>
                    <a:pt x="17464" y="10477"/>
                    <a:pt x="17481" y="10486"/>
                    <a:pt x="17499" y="10491"/>
                  </a:cubicBezTo>
                  <a:cubicBezTo>
                    <a:pt x="17567" y="10510"/>
                    <a:pt x="17582" y="10566"/>
                    <a:pt x="17596" y="10624"/>
                  </a:cubicBezTo>
                  <a:cubicBezTo>
                    <a:pt x="17599" y="10636"/>
                    <a:pt x="17598" y="10650"/>
                    <a:pt x="17586" y="10658"/>
                  </a:cubicBezTo>
                  <a:cubicBezTo>
                    <a:pt x="17575" y="10665"/>
                    <a:pt x="17563" y="10660"/>
                    <a:pt x="17551" y="10653"/>
                  </a:cubicBezTo>
                  <a:cubicBezTo>
                    <a:pt x="17465" y="10599"/>
                    <a:pt x="17377" y="10547"/>
                    <a:pt x="17317" y="10461"/>
                  </a:cubicBezTo>
                  <a:cubicBezTo>
                    <a:pt x="17286" y="10415"/>
                    <a:pt x="17232" y="10411"/>
                    <a:pt x="17184" y="10401"/>
                  </a:cubicBezTo>
                  <a:cubicBezTo>
                    <a:pt x="17102" y="10386"/>
                    <a:pt x="17019" y="10379"/>
                    <a:pt x="16937" y="10405"/>
                  </a:cubicBezTo>
                  <a:cubicBezTo>
                    <a:pt x="16905" y="10415"/>
                    <a:pt x="16899" y="10423"/>
                    <a:pt x="16912" y="10454"/>
                  </a:cubicBezTo>
                  <a:cubicBezTo>
                    <a:pt x="16931" y="10499"/>
                    <a:pt x="16963" y="10525"/>
                    <a:pt x="17014" y="10535"/>
                  </a:cubicBezTo>
                  <a:cubicBezTo>
                    <a:pt x="17135" y="10557"/>
                    <a:pt x="17207" y="10636"/>
                    <a:pt x="17224" y="10757"/>
                  </a:cubicBezTo>
                  <a:cubicBezTo>
                    <a:pt x="17225" y="10761"/>
                    <a:pt x="17226" y="10765"/>
                    <a:pt x="17226" y="10769"/>
                  </a:cubicBezTo>
                  <a:cubicBezTo>
                    <a:pt x="17227" y="10781"/>
                    <a:pt x="17232" y="10796"/>
                    <a:pt x="17218" y="10802"/>
                  </a:cubicBezTo>
                  <a:cubicBezTo>
                    <a:pt x="17203" y="10810"/>
                    <a:pt x="17194" y="10797"/>
                    <a:pt x="17188" y="10787"/>
                  </a:cubicBezTo>
                  <a:cubicBezTo>
                    <a:pt x="17171" y="10757"/>
                    <a:pt x="17142" y="10739"/>
                    <a:pt x="17118" y="10717"/>
                  </a:cubicBezTo>
                  <a:cubicBezTo>
                    <a:pt x="17112" y="10711"/>
                    <a:pt x="17106" y="10704"/>
                    <a:pt x="17099" y="10701"/>
                  </a:cubicBezTo>
                  <a:cubicBezTo>
                    <a:pt x="17079" y="10693"/>
                    <a:pt x="17057" y="10688"/>
                    <a:pt x="17039" y="10700"/>
                  </a:cubicBezTo>
                  <a:cubicBezTo>
                    <a:pt x="17021" y="10712"/>
                    <a:pt x="17026" y="10735"/>
                    <a:pt x="17031" y="10752"/>
                  </a:cubicBezTo>
                  <a:cubicBezTo>
                    <a:pt x="17041" y="10792"/>
                    <a:pt x="17054" y="10831"/>
                    <a:pt x="17067" y="10871"/>
                  </a:cubicBezTo>
                  <a:cubicBezTo>
                    <a:pt x="17078" y="10904"/>
                    <a:pt x="17108" y="10913"/>
                    <a:pt x="17136" y="10916"/>
                  </a:cubicBezTo>
                  <a:cubicBezTo>
                    <a:pt x="17238" y="10926"/>
                    <a:pt x="17298" y="10993"/>
                    <a:pt x="17354" y="11068"/>
                  </a:cubicBezTo>
                  <a:cubicBezTo>
                    <a:pt x="17373" y="11093"/>
                    <a:pt x="17369" y="11112"/>
                    <a:pt x="17341" y="11121"/>
                  </a:cubicBezTo>
                  <a:cubicBezTo>
                    <a:pt x="17289" y="11136"/>
                    <a:pt x="17237" y="11147"/>
                    <a:pt x="17184" y="11118"/>
                  </a:cubicBezTo>
                  <a:cubicBezTo>
                    <a:pt x="17167" y="11108"/>
                    <a:pt x="17154" y="11098"/>
                    <a:pt x="17146" y="11080"/>
                  </a:cubicBezTo>
                  <a:cubicBezTo>
                    <a:pt x="17139" y="11065"/>
                    <a:pt x="17127" y="11052"/>
                    <a:pt x="17119" y="11038"/>
                  </a:cubicBezTo>
                  <a:cubicBezTo>
                    <a:pt x="17111" y="11024"/>
                    <a:pt x="17103" y="11011"/>
                    <a:pt x="17086" y="11017"/>
                  </a:cubicBezTo>
                  <a:cubicBezTo>
                    <a:pt x="17065" y="11023"/>
                    <a:pt x="17063" y="11042"/>
                    <a:pt x="17068" y="11058"/>
                  </a:cubicBezTo>
                  <a:cubicBezTo>
                    <a:pt x="17085" y="11108"/>
                    <a:pt x="17085" y="11161"/>
                    <a:pt x="17098" y="11211"/>
                  </a:cubicBezTo>
                  <a:cubicBezTo>
                    <a:pt x="17106" y="11241"/>
                    <a:pt x="17104" y="11268"/>
                    <a:pt x="17088" y="11295"/>
                  </a:cubicBezTo>
                  <a:cubicBezTo>
                    <a:pt x="17055" y="11350"/>
                    <a:pt x="17023" y="11406"/>
                    <a:pt x="16990" y="11462"/>
                  </a:cubicBezTo>
                  <a:cubicBezTo>
                    <a:pt x="16983" y="11473"/>
                    <a:pt x="16974" y="11488"/>
                    <a:pt x="16956" y="11483"/>
                  </a:cubicBezTo>
                  <a:cubicBezTo>
                    <a:pt x="16942" y="11478"/>
                    <a:pt x="16945" y="11462"/>
                    <a:pt x="16940" y="11451"/>
                  </a:cubicBezTo>
                  <a:cubicBezTo>
                    <a:pt x="16922" y="11409"/>
                    <a:pt x="16915" y="11364"/>
                    <a:pt x="16897" y="11321"/>
                  </a:cubicBezTo>
                  <a:cubicBezTo>
                    <a:pt x="16878" y="11281"/>
                    <a:pt x="16883" y="11241"/>
                    <a:pt x="16921" y="11208"/>
                  </a:cubicBezTo>
                  <a:cubicBezTo>
                    <a:pt x="16943" y="11189"/>
                    <a:pt x="16963" y="11168"/>
                    <a:pt x="16980" y="11145"/>
                  </a:cubicBezTo>
                  <a:cubicBezTo>
                    <a:pt x="17004" y="11114"/>
                    <a:pt x="17014" y="11078"/>
                    <a:pt x="17003" y="11039"/>
                  </a:cubicBezTo>
                  <a:cubicBezTo>
                    <a:pt x="16999" y="11026"/>
                    <a:pt x="16996" y="11015"/>
                    <a:pt x="16981" y="11012"/>
                  </a:cubicBezTo>
                  <a:cubicBezTo>
                    <a:pt x="16967" y="11010"/>
                    <a:pt x="16956" y="11016"/>
                    <a:pt x="16949" y="11027"/>
                  </a:cubicBezTo>
                  <a:cubicBezTo>
                    <a:pt x="16928" y="11055"/>
                    <a:pt x="16905" y="11083"/>
                    <a:pt x="16887" y="11113"/>
                  </a:cubicBezTo>
                  <a:cubicBezTo>
                    <a:pt x="16859" y="11159"/>
                    <a:pt x="16812" y="11162"/>
                    <a:pt x="16768" y="11171"/>
                  </a:cubicBezTo>
                  <a:cubicBezTo>
                    <a:pt x="16749" y="11174"/>
                    <a:pt x="16736" y="11154"/>
                    <a:pt x="16748" y="11137"/>
                  </a:cubicBezTo>
                  <a:cubicBezTo>
                    <a:pt x="16780" y="11088"/>
                    <a:pt x="16799" y="11033"/>
                    <a:pt x="16828" y="10982"/>
                  </a:cubicBezTo>
                  <a:cubicBezTo>
                    <a:pt x="16844" y="10953"/>
                    <a:pt x="16876" y="10942"/>
                    <a:pt x="16902" y="10928"/>
                  </a:cubicBezTo>
                  <a:cubicBezTo>
                    <a:pt x="16947" y="10901"/>
                    <a:pt x="16966" y="10870"/>
                    <a:pt x="16961" y="10816"/>
                  </a:cubicBezTo>
                  <a:cubicBezTo>
                    <a:pt x="16958" y="10777"/>
                    <a:pt x="16958" y="10738"/>
                    <a:pt x="16949" y="10699"/>
                  </a:cubicBezTo>
                  <a:cubicBezTo>
                    <a:pt x="16946" y="10686"/>
                    <a:pt x="16945" y="10667"/>
                    <a:pt x="16928" y="10664"/>
                  </a:cubicBezTo>
                  <a:cubicBezTo>
                    <a:pt x="16907" y="10660"/>
                    <a:pt x="16899" y="10679"/>
                    <a:pt x="16891" y="10693"/>
                  </a:cubicBezTo>
                  <a:cubicBezTo>
                    <a:pt x="16872" y="10727"/>
                    <a:pt x="16852" y="10762"/>
                    <a:pt x="16837" y="10798"/>
                  </a:cubicBezTo>
                  <a:cubicBezTo>
                    <a:pt x="16811" y="10858"/>
                    <a:pt x="16755" y="10877"/>
                    <a:pt x="16703" y="10902"/>
                  </a:cubicBezTo>
                  <a:cubicBezTo>
                    <a:pt x="16689" y="10909"/>
                    <a:pt x="16677" y="10897"/>
                    <a:pt x="16679" y="10884"/>
                  </a:cubicBezTo>
                  <a:cubicBezTo>
                    <a:pt x="16693" y="10802"/>
                    <a:pt x="16708" y="10719"/>
                    <a:pt x="16772" y="10659"/>
                  </a:cubicBezTo>
                  <a:cubicBezTo>
                    <a:pt x="16788" y="10644"/>
                    <a:pt x="16813" y="10638"/>
                    <a:pt x="16832" y="10627"/>
                  </a:cubicBezTo>
                  <a:cubicBezTo>
                    <a:pt x="16864" y="10608"/>
                    <a:pt x="16891" y="10585"/>
                    <a:pt x="16884" y="10543"/>
                  </a:cubicBezTo>
                  <a:cubicBezTo>
                    <a:pt x="16878" y="10502"/>
                    <a:pt x="16860" y="10468"/>
                    <a:pt x="16817" y="10454"/>
                  </a:cubicBezTo>
                  <a:cubicBezTo>
                    <a:pt x="16746" y="10430"/>
                    <a:pt x="16673" y="10438"/>
                    <a:pt x="16601" y="10443"/>
                  </a:cubicBezTo>
                  <a:cubicBezTo>
                    <a:pt x="16592" y="10444"/>
                    <a:pt x="16584" y="10449"/>
                    <a:pt x="16576" y="10449"/>
                  </a:cubicBezTo>
                  <a:cubicBezTo>
                    <a:pt x="16482" y="10444"/>
                    <a:pt x="16419" y="10503"/>
                    <a:pt x="16353" y="10557"/>
                  </a:cubicBezTo>
                  <a:cubicBezTo>
                    <a:pt x="16295" y="10605"/>
                    <a:pt x="16242" y="10658"/>
                    <a:pt x="16200" y="10720"/>
                  </a:cubicBezTo>
                  <a:cubicBezTo>
                    <a:pt x="16169" y="10766"/>
                    <a:pt x="16131" y="10803"/>
                    <a:pt x="16085" y="10833"/>
                  </a:cubicBezTo>
                  <a:cubicBezTo>
                    <a:pt x="16066" y="10846"/>
                    <a:pt x="16049" y="10860"/>
                    <a:pt x="16054" y="10883"/>
                  </a:cubicBezTo>
                  <a:cubicBezTo>
                    <a:pt x="16064" y="10925"/>
                    <a:pt x="16038" y="10954"/>
                    <a:pt x="16019" y="10985"/>
                  </a:cubicBezTo>
                  <a:cubicBezTo>
                    <a:pt x="16009" y="11001"/>
                    <a:pt x="15997" y="11015"/>
                    <a:pt x="15988" y="11031"/>
                  </a:cubicBezTo>
                  <a:cubicBezTo>
                    <a:pt x="15977" y="11051"/>
                    <a:pt x="15976" y="11074"/>
                    <a:pt x="15992" y="11090"/>
                  </a:cubicBezTo>
                  <a:cubicBezTo>
                    <a:pt x="16008" y="11106"/>
                    <a:pt x="16020" y="11082"/>
                    <a:pt x="16034" y="11079"/>
                  </a:cubicBezTo>
                  <a:cubicBezTo>
                    <a:pt x="16110" y="11061"/>
                    <a:pt x="16140" y="11009"/>
                    <a:pt x="16147" y="10936"/>
                  </a:cubicBezTo>
                  <a:cubicBezTo>
                    <a:pt x="16151" y="10893"/>
                    <a:pt x="16177" y="10860"/>
                    <a:pt x="16211" y="10832"/>
                  </a:cubicBezTo>
                  <a:cubicBezTo>
                    <a:pt x="16252" y="10798"/>
                    <a:pt x="16291" y="10760"/>
                    <a:pt x="16337" y="10732"/>
                  </a:cubicBezTo>
                  <a:cubicBezTo>
                    <a:pt x="16354" y="10721"/>
                    <a:pt x="16375" y="10718"/>
                    <a:pt x="16377" y="10739"/>
                  </a:cubicBezTo>
                  <a:cubicBezTo>
                    <a:pt x="16381" y="10794"/>
                    <a:pt x="16399" y="10850"/>
                    <a:pt x="16362" y="10902"/>
                  </a:cubicBezTo>
                  <a:cubicBezTo>
                    <a:pt x="16343" y="10928"/>
                    <a:pt x="16326" y="10952"/>
                    <a:pt x="16290" y="10955"/>
                  </a:cubicBezTo>
                  <a:cubicBezTo>
                    <a:pt x="16278" y="10956"/>
                    <a:pt x="16265" y="10960"/>
                    <a:pt x="16254" y="10965"/>
                  </a:cubicBezTo>
                  <a:cubicBezTo>
                    <a:pt x="16236" y="10974"/>
                    <a:pt x="16223" y="10988"/>
                    <a:pt x="16229" y="11010"/>
                  </a:cubicBezTo>
                  <a:cubicBezTo>
                    <a:pt x="16234" y="11032"/>
                    <a:pt x="16255" y="11040"/>
                    <a:pt x="16273" y="11036"/>
                  </a:cubicBezTo>
                  <a:cubicBezTo>
                    <a:pt x="16310" y="11026"/>
                    <a:pt x="16352" y="11027"/>
                    <a:pt x="16384" y="11002"/>
                  </a:cubicBezTo>
                  <a:cubicBezTo>
                    <a:pt x="16436" y="10961"/>
                    <a:pt x="16486" y="10963"/>
                    <a:pt x="16538" y="11002"/>
                  </a:cubicBezTo>
                  <a:cubicBezTo>
                    <a:pt x="16569" y="11026"/>
                    <a:pt x="16604" y="11046"/>
                    <a:pt x="16637" y="11067"/>
                  </a:cubicBezTo>
                  <a:cubicBezTo>
                    <a:pt x="16657" y="11079"/>
                    <a:pt x="16659" y="11096"/>
                    <a:pt x="16642" y="11106"/>
                  </a:cubicBezTo>
                  <a:cubicBezTo>
                    <a:pt x="16604" y="11131"/>
                    <a:pt x="16558" y="11140"/>
                    <a:pt x="16520" y="11167"/>
                  </a:cubicBezTo>
                  <a:cubicBezTo>
                    <a:pt x="16481" y="11151"/>
                    <a:pt x="16434" y="11156"/>
                    <a:pt x="16400" y="11121"/>
                  </a:cubicBezTo>
                  <a:cubicBezTo>
                    <a:pt x="16372" y="11092"/>
                    <a:pt x="16336" y="11084"/>
                    <a:pt x="16296" y="11094"/>
                  </a:cubicBezTo>
                  <a:cubicBezTo>
                    <a:pt x="16280" y="11098"/>
                    <a:pt x="16261" y="11098"/>
                    <a:pt x="16258" y="11119"/>
                  </a:cubicBezTo>
                  <a:cubicBezTo>
                    <a:pt x="16255" y="11139"/>
                    <a:pt x="16269" y="11149"/>
                    <a:pt x="16287" y="11153"/>
                  </a:cubicBezTo>
                  <a:cubicBezTo>
                    <a:pt x="16313" y="11160"/>
                    <a:pt x="16330" y="11179"/>
                    <a:pt x="16346" y="11197"/>
                  </a:cubicBezTo>
                  <a:cubicBezTo>
                    <a:pt x="16376" y="11230"/>
                    <a:pt x="16387" y="11305"/>
                    <a:pt x="16368" y="11344"/>
                  </a:cubicBezTo>
                  <a:cubicBezTo>
                    <a:pt x="16358" y="11364"/>
                    <a:pt x="16341" y="11356"/>
                    <a:pt x="16332" y="11345"/>
                  </a:cubicBezTo>
                  <a:cubicBezTo>
                    <a:pt x="16289" y="11292"/>
                    <a:pt x="16228" y="11254"/>
                    <a:pt x="16195" y="11193"/>
                  </a:cubicBezTo>
                  <a:cubicBezTo>
                    <a:pt x="16173" y="11153"/>
                    <a:pt x="16141" y="11145"/>
                    <a:pt x="16104" y="11140"/>
                  </a:cubicBezTo>
                  <a:cubicBezTo>
                    <a:pt x="16067" y="11135"/>
                    <a:pt x="16033" y="11147"/>
                    <a:pt x="16005" y="11169"/>
                  </a:cubicBezTo>
                  <a:cubicBezTo>
                    <a:pt x="15983" y="11185"/>
                    <a:pt x="15985" y="11206"/>
                    <a:pt x="16011" y="11217"/>
                  </a:cubicBezTo>
                  <a:cubicBezTo>
                    <a:pt x="16043" y="11231"/>
                    <a:pt x="16075" y="11246"/>
                    <a:pt x="16104" y="11266"/>
                  </a:cubicBezTo>
                  <a:cubicBezTo>
                    <a:pt x="16163" y="11308"/>
                    <a:pt x="16180" y="11373"/>
                    <a:pt x="16202" y="11435"/>
                  </a:cubicBezTo>
                  <a:cubicBezTo>
                    <a:pt x="16208" y="11452"/>
                    <a:pt x="16193" y="11466"/>
                    <a:pt x="16177" y="11458"/>
                  </a:cubicBezTo>
                  <a:cubicBezTo>
                    <a:pt x="16117" y="11427"/>
                    <a:pt x="16051" y="11414"/>
                    <a:pt x="15995" y="11376"/>
                  </a:cubicBezTo>
                  <a:cubicBezTo>
                    <a:pt x="15966" y="11357"/>
                    <a:pt x="15950" y="11327"/>
                    <a:pt x="15933" y="11299"/>
                  </a:cubicBezTo>
                  <a:cubicBezTo>
                    <a:pt x="15905" y="11252"/>
                    <a:pt x="15894" y="11249"/>
                    <a:pt x="15842" y="11260"/>
                  </a:cubicBezTo>
                  <a:cubicBezTo>
                    <a:pt x="15806" y="11268"/>
                    <a:pt x="15774" y="11281"/>
                    <a:pt x="15745" y="11302"/>
                  </a:cubicBezTo>
                  <a:cubicBezTo>
                    <a:pt x="15713" y="11325"/>
                    <a:pt x="15683" y="11349"/>
                    <a:pt x="15643" y="11360"/>
                  </a:cubicBezTo>
                  <a:cubicBezTo>
                    <a:pt x="15606" y="11370"/>
                    <a:pt x="15607" y="11391"/>
                    <a:pt x="15639" y="11415"/>
                  </a:cubicBezTo>
                  <a:cubicBezTo>
                    <a:pt x="15653" y="11425"/>
                    <a:pt x="15666" y="11435"/>
                    <a:pt x="15680" y="11443"/>
                  </a:cubicBezTo>
                  <a:cubicBezTo>
                    <a:pt x="15703" y="11456"/>
                    <a:pt x="15724" y="11461"/>
                    <a:pt x="15751" y="11450"/>
                  </a:cubicBezTo>
                  <a:cubicBezTo>
                    <a:pt x="15781" y="11436"/>
                    <a:pt x="15812" y="11425"/>
                    <a:pt x="15846" y="11419"/>
                  </a:cubicBezTo>
                  <a:cubicBezTo>
                    <a:pt x="15921" y="11408"/>
                    <a:pt x="15982" y="11447"/>
                    <a:pt x="16048" y="11472"/>
                  </a:cubicBezTo>
                  <a:cubicBezTo>
                    <a:pt x="16062" y="11477"/>
                    <a:pt x="16062" y="11490"/>
                    <a:pt x="16056" y="11504"/>
                  </a:cubicBezTo>
                  <a:cubicBezTo>
                    <a:pt x="16028" y="11561"/>
                    <a:pt x="15960" y="11592"/>
                    <a:pt x="15895" y="11577"/>
                  </a:cubicBezTo>
                  <a:cubicBezTo>
                    <a:pt x="15875" y="11572"/>
                    <a:pt x="15854" y="11568"/>
                    <a:pt x="15834" y="11572"/>
                  </a:cubicBezTo>
                  <a:cubicBezTo>
                    <a:pt x="15807" y="11578"/>
                    <a:pt x="15800" y="11596"/>
                    <a:pt x="15814" y="11618"/>
                  </a:cubicBezTo>
                  <a:cubicBezTo>
                    <a:pt x="15832" y="11646"/>
                    <a:pt x="15873" y="11665"/>
                    <a:pt x="15906" y="11655"/>
                  </a:cubicBezTo>
                  <a:cubicBezTo>
                    <a:pt x="15949" y="11643"/>
                    <a:pt x="15993" y="11646"/>
                    <a:pt x="16036" y="11645"/>
                  </a:cubicBezTo>
                  <a:cubicBezTo>
                    <a:pt x="16094" y="11643"/>
                    <a:pt x="16128" y="11678"/>
                    <a:pt x="16157" y="11720"/>
                  </a:cubicBezTo>
                  <a:cubicBezTo>
                    <a:pt x="16167" y="11734"/>
                    <a:pt x="16165" y="11748"/>
                    <a:pt x="16154" y="11760"/>
                  </a:cubicBezTo>
                  <a:cubicBezTo>
                    <a:pt x="16143" y="11774"/>
                    <a:pt x="16130" y="11772"/>
                    <a:pt x="16115" y="11764"/>
                  </a:cubicBezTo>
                  <a:cubicBezTo>
                    <a:pt x="16073" y="11740"/>
                    <a:pt x="16027" y="11730"/>
                    <a:pt x="15978" y="11734"/>
                  </a:cubicBezTo>
                  <a:cubicBezTo>
                    <a:pt x="15967" y="11734"/>
                    <a:pt x="15955" y="11733"/>
                    <a:pt x="15950" y="11743"/>
                  </a:cubicBezTo>
                  <a:cubicBezTo>
                    <a:pt x="15944" y="11756"/>
                    <a:pt x="15952" y="11767"/>
                    <a:pt x="15960" y="11777"/>
                  </a:cubicBezTo>
                  <a:cubicBezTo>
                    <a:pt x="15983" y="11806"/>
                    <a:pt x="16016" y="11821"/>
                    <a:pt x="16047" y="11836"/>
                  </a:cubicBezTo>
                  <a:cubicBezTo>
                    <a:pt x="16102" y="11864"/>
                    <a:pt x="16139" y="11907"/>
                    <a:pt x="16172" y="11956"/>
                  </a:cubicBezTo>
                  <a:cubicBezTo>
                    <a:pt x="16200" y="11998"/>
                    <a:pt x="16196" y="12043"/>
                    <a:pt x="16193" y="12088"/>
                  </a:cubicBezTo>
                  <a:cubicBezTo>
                    <a:pt x="16192" y="12108"/>
                    <a:pt x="16178" y="12114"/>
                    <a:pt x="16162" y="12107"/>
                  </a:cubicBezTo>
                  <a:cubicBezTo>
                    <a:pt x="16107" y="12080"/>
                    <a:pt x="16049" y="12056"/>
                    <a:pt x="16007" y="12007"/>
                  </a:cubicBezTo>
                  <a:cubicBezTo>
                    <a:pt x="15984" y="11981"/>
                    <a:pt x="15971" y="11950"/>
                    <a:pt x="15977" y="11915"/>
                  </a:cubicBezTo>
                  <a:cubicBezTo>
                    <a:pt x="15987" y="11857"/>
                    <a:pt x="15949" y="11828"/>
                    <a:pt x="15911" y="11799"/>
                  </a:cubicBezTo>
                  <a:cubicBezTo>
                    <a:pt x="15894" y="11787"/>
                    <a:pt x="15884" y="11796"/>
                    <a:pt x="15879" y="11813"/>
                  </a:cubicBezTo>
                  <a:cubicBezTo>
                    <a:pt x="15876" y="11828"/>
                    <a:pt x="15877" y="11843"/>
                    <a:pt x="15884" y="11856"/>
                  </a:cubicBezTo>
                  <a:cubicBezTo>
                    <a:pt x="15910" y="11902"/>
                    <a:pt x="15904" y="11943"/>
                    <a:pt x="15869" y="11982"/>
                  </a:cubicBezTo>
                  <a:cubicBezTo>
                    <a:pt x="15859" y="11993"/>
                    <a:pt x="15858" y="12013"/>
                    <a:pt x="15837" y="12024"/>
                  </a:cubicBezTo>
                  <a:cubicBezTo>
                    <a:pt x="15807" y="11959"/>
                    <a:pt x="15747" y="11908"/>
                    <a:pt x="15774" y="11826"/>
                  </a:cubicBezTo>
                  <a:cubicBezTo>
                    <a:pt x="15778" y="11812"/>
                    <a:pt x="15781" y="11798"/>
                    <a:pt x="15788" y="11785"/>
                  </a:cubicBezTo>
                  <a:cubicBezTo>
                    <a:pt x="15814" y="11735"/>
                    <a:pt x="15786" y="11660"/>
                    <a:pt x="15735" y="11640"/>
                  </a:cubicBezTo>
                  <a:cubicBezTo>
                    <a:pt x="15718" y="11633"/>
                    <a:pt x="15707" y="11639"/>
                    <a:pt x="15703" y="11657"/>
                  </a:cubicBezTo>
                  <a:cubicBezTo>
                    <a:pt x="15702" y="11661"/>
                    <a:pt x="15701" y="11666"/>
                    <a:pt x="15702" y="11670"/>
                  </a:cubicBezTo>
                  <a:cubicBezTo>
                    <a:pt x="15719" y="11749"/>
                    <a:pt x="15667" y="11797"/>
                    <a:pt x="15620" y="11847"/>
                  </a:cubicBezTo>
                  <a:cubicBezTo>
                    <a:pt x="15611" y="11856"/>
                    <a:pt x="15600" y="11865"/>
                    <a:pt x="15587" y="11860"/>
                  </a:cubicBezTo>
                  <a:cubicBezTo>
                    <a:pt x="15573" y="11855"/>
                    <a:pt x="15573" y="11841"/>
                    <a:pt x="15569" y="11829"/>
                  </a:cubicBezTo>
                  <a:cubicBezTo>
                    <a:pt x="15547" y="11751"/>
                    <a:pt x="15569" y="11681"/>
                    <a:pt x="15608" y="11615"/>
                  </a:cubicBezTo>
                  <a:cubicBezTo>
                    <a:pt x="15615" y="11602"/>
                    <a:pt x="15623" y="11590"/>
                    <a:pt x="15629" y="11577"/>
                  </a:cubicBezTo>
                  <a:cubicBezTo>
                    <a:pt x="15647" y="11533"/>
                    <a:pt x="15630" y="11484"/>
                    <a:pt x="15586" y="11468"/>
                  </a:cubicBezTo>
                  <a:cubicBezTo>
                    <a:pt x="15534" y="11447"/>
                    <a:pt x="15481" y="11427"/>
                    <a:pt x="15423" y="11441"/>
                  </a:cubicBezTo>
                  <a:cubicBezTo>
                    <a:pt x="15347" y="11459"/>
                    <a:pt x="15277" y="11436"/>
                    <a:pt x="15214" y="11398"/>
                  </a:cubicBezTo>
                  <a:cubicBezTo>
                    <a:pt x="15144" y="11357"/>
                    <a:pt x="15069" y="11350"/>
                    <a:pt x="14992" y="11345"/>
                  </a:cubicBezTo>
                  <a:cubicBezTo>
                    <a:pt x="14958" y="11343"/>
                    <a:pt x="14928" y="11362"/>
                    <a:pt x="14898" y="11377"/>
                  </a:cubicBezTo>
                  <a:cubicBezTo>
                    <a:pt x="14879" y="11386"/>
                    <a:pt x="14878" y="11402"/>
                    <a:pt x="14892" y="11417"/>
                  </a:cubicBezTo>
                  <a:cubicBezTo>
                    <a:pt x="14903" y="11429"/>
                    <a:pt x="14916" y="11440"/>
                    <a:pt x="14930" y="11449"/>
                  </a:cubicBezTo>
                  <a:cubicBezTo>
                    <a:pt x="14965" y="11472"/>
                    <a:pt x="14997" y="11498"/>
                    <a:pt x="15021" y="11533"/>
                  </a:cubicBezTo>
                  <a:cubicBezTo>
                    <a:pt x="15040" y="11562"/>
                    <a:pt x="15066" y="11568"/>
                    <a:pt x="15097" y="11560"/>
                  </a:cubicBezTo>
                  <a:cubicBezTo>
                    <a:pt x="15115" y="11555"/>
                    <a:pt x="15134" y="11552"/>
                    <a:pt x="15152" y="11546"/>
                  </a:cubicBezTo>
                  <a:cubicBezTo>
                    <a:pt x="15224" y="11521"/>
                    <a:pt x="15287" y="11547"/>
                    <a:pt x="15345" y="11585"/>
                  </a:cubicBezTo>
                  <a:cubicBezTo>
                    <a:pt x="15390" y="11613"/>
                    <a:pt x="15387" y="11634"/>
                    <a:pt x="15352" y="11675"/>
                  </a:cubicBezTo>
                  <a:cubicBezTo>
                    <a:pt x="15321" y="11711"/>
                    <a:pt x="15284" y="11722"/>
                    <a:pt x="15240" y="11713"/>
                  </a:cubicBezTo>
                  <a:cubicBezTo>
                    <a:pt x="15214" y="11707"/>
                    <a:pt x="15188" y="11697"/>
                    <a:pt x="15162" y="11691"/>
                  </a:cubicBezTo>
                  <a:cubicBezTo>
                    <a:pt x="15138" y="11686"/>
                    <a:pt x="15122" y="11704"/>
                    <a:pt x="15135" y="11723"/>
                  </a:cubicBezTo>
                  <a:cubicBezTo>
                    <a:pt x="15194" y="11812"/>
                    <a:pt x="15239" y="11914"/>
                    <a:pt x="15343" y="11966"/>
                  </a:cubicBezTo>
                  <a:cubicBezTo>
                    <a:pt x="15412" y="12000"/>
                    <a:pt x="15463" y="12052"/>
                    <a:pt x="15492" y="12126"/>
                  </a:cubicBezTo>
                  <a:cubicBezTo>
                    <a:pt x="15507" y="12167"/>
                    <a:pt x="15493" y="12195"/>
                    <a:pt x="15448" y="12197"/>
                  </a:cubicBezTo>
                  <a:cubicBezTo>
                    <a:pt x="15399" y="12200"/>
                    <a:pt x="15362" y="12172"/>
                    <a:pt x="15327" y="12141"/>
                  </a:cubicBezTo>
                  <a:cubicBezTo>
                    <a:pt x="15313" y="12129"/>
                    <a:pt x="15303" y="12113"/>
                    <a:pt x="15291" y="12099"/>
                  </a:cubicBezTo>
                  <a:cubicBezTo>
                    <a:pt x="15281" y="12087"/>
                    <a:pt x="15272" y="12076"/>
                    <a:pt x="15262" y="12065"/>
                  </a:cubicBezTo>
                  <a:cubicBezTo>
                    <a:pt x="15252" y="12055"/>
                    <a:pt x="15241" y="12042"/>
                    <a:pt x="15225" y="12053"/>
                  </a:cubicBezTo>
                  <a:cubicBezTo>
                    <a:pt x="15213" y="12062"/>
                    <a:pt x="15217" y="12076"/>
                    <a:pt x="15220" y="12088"/>
                  </a:cubicBezTo>
                  <a:cubicBezTo>
                    <a:pt x="15231" y="12128"/>
                    <a:pt x="15247" y="12167"/>
                    <a:pt x="15270" y="12202"/>
                  </a:cubicBezTo>
                  <a:cubicBezTo>
                    <a:pt x="15331" y="12293"/>
                    <a:pt x="15317" y="12382"/>
                    <a:pt x="15268" y="12472"/>
                  </a:cubicBezTo>
                  <a:cubicBezTo>
                    <a:pt x="15252" y="12501"/>
                    <a:pt x="15228" y="12524"/>
                    <a:pt x="15212" y="12555"/>
                  </a:cubicBezTo>
                  <a:cubicBezTo>
                    <a:pt x="15198" y="12582"/>
                    <a:pt x="15161" y="12579"/>
                    <a:pt x="15147" y="12552"/>
                  </a:cubicBezTo>
                  <a:cubicBezTo>
                    <a:pt x="15100" y="12459"/>
                    <a:pt x="15091" y="12364"/>
                    <a:pt x="15152" y="12274"/>
                  </a:cubicBezTo>
                  <a:cubicBezTo>
                    <a:pt x="15192" y="12213"/>
                    <a:pt x="15202" y="12153"/>
                    <a:pt x="15173" y="12086"/>
                  </a:cubicBezTo>
                  <a:cubicBezTo>
                    <a:pt x="15169" y="12077"/>
                    <a:pt x="15166" y="12067"/>
                    <a:pt x="15159" y="12059"/>
                  </a:cubicBezTo>
                  <a:cubicBezTo>
                    <a:pt x="15147" y="12043"/>
                    <a:pt x="15126" y="12047"/>
                    <a:pt x="15121" y="12066"/>
                  </a:cubicBezTo>
                  <a:cubicBezTo>
                    <a:pt x="15118" y="12073"/>
                    <a:pt x="15118" y="12082"/>
                    <a:pt x="15118" y="12090"/>
                  </a:cubicBezTo>
                  <a:cubicBezTo>
                    <a:pt x="15115" y="12159"/>
                    <a:pt x="15066" y="12190"/>
                    <a:pt x="15014" y="12218"/>
                  </a:cubicBezTo>
                  <a:cubicBezTo>
                    <a:pt x="14988" y="12231"/>
                    <a:pt x="14967" y="12218"/>
                    <a:pt x="14968" y="12188"/>
                  </a:cubicBezTo>
                  <a:cubicBezTo>
                    <a:pt x="14970" y="12153"/>
                    <a:pt x="14976" y="12119"/>
                    <a:pt x="14995" y="12087"/>
                  </a:cubicBezTo>
                  <a:cubicBezTo>
                    <a:pt x="15023" y="12042"/>
                    <a:pt x="15054" y="12001"/>
                    <a:pt x="15093" y="11967"/>
                  </a:cubicBezTo>
                  <a:cubicBezTo>
                    <a:pt x="15158" y="11907"/>
                    <a:pt x="15132" y="11811"/>
                    <a:pt x="15092" y="11762"/>
                  </a:cubicBezTo>
                  <a:cubicBezTo>
                    <a:pt x="15085" y="11754"/>
                    <a:pt x="15078" y="11746"/>
                    <a:pt x="15066" y="11749"/>
                  </a:cubicBezTo>
                  <a:cubicBezTo>
                    <a:pt x="15051" y="11752"/>
                    <a:pt x="15048" y="11764"/>
                    <a:pt x="15045" y="11776"/>
                  </a:cubicBezTo>
                  <a:cubicBezTo>
                    <a:pt x="15040" y="11805"/>
                    <a:pt x="15034" y="11833"/>
                    <a:pt x="15030" y="11862"/>
                  </a:cubicBezTo>
                  <a:cubicBezTo>
                    <a:pt x="15023" y="11909"/>
                    <a:pt x="14992" y="11935"/>
                    <a:pt x="14953" y="11953"/>
                  </a:cubicBezTo>
                  <a:cubicBezTo>
                    <a:pt x="14933" y="11963"/>
                    <a:pt x="14911" y="11970"/>
                    <a:pt x="14889" y="11977"/>
                  </a:cubicBezTo>
                  <a:cubicBezTo>
                    <a:pt x="14851" y="11989"/>
                    <a:pt x="14833" y="11977"/>
                    <a:pt x="14835" y="11936"/>
                  </a:cubicBezTo>
                  <a:cubicBezTo>
                    <a:pt x="14839" y="11879"/>
                    <a:pt x="14857" y="11826"/>
                    <a:pt x="14894" y="11781"/>
                  </a:cubicBezTo>
                  <a:cubicBezTo>
                    <a:pt x="14915" y="11755"/>
                    <a:pt x="14937" y="11730"/>
                    <a:pt x="14957" y="11704"/>
                  </a:cubicBezTo>
                  <a:cubicBezTo>
                    <a:pt x="14984" y="11668"/>
                    <a:pt x="14985" y="11631"/>
                    <a:pt x="14960" y="11594"/>
                  </a:cubicBezTo>
                  <a:cubicBezTo>
                    <a:pt x="14922" y="11536"/>
                    <a:pt x="14866" y="11499"/>
                    <a:pt x="14804" y="11474"/>
                  </a:cubicBezTo>
                  <a:cubicBezTo>
                    <a:pt x="14745" y="11450"/>
                    <a:pt x="14672" y="11474"/>
                    <a:pt x="14631" y="11529"/>
                  </a:cubicBezTo>
                  <a:cubicBezTo>
                    <a:pt x="14594" y="11579"/>
                    <a:pt x="14561" y="11633"/>
                    <a:pt x="14532" y="11688"/>
                  </a:cubicBezTo>
                  <a:cubicBezTo>
                    <a:pt x="14502" y="11746"/>
                    <a:pt x="14512" y="11809"/>
                    <a:pt x="14524" y="11871"/>
                  </a:cubicBezTo>
                  <a:cubicBezTo>
                    <a:pt x="14546" y="11987"/>
                    <a:pt x="14590" y="12098"/>
                    <a:pt x="14607" y="12216"/>
                  </a:cubicBezTo>
                  <a:cubicBezTo>
                    <a:pt x="14610" y="12232"/>
                    <a:pt x="14616" y="12249"/>
                    <a:pt x="14615" y="12265"/>
                  </a:cubicBezTo>
                  <a:cubicBezTo>
                    <a:pt x="14610" y="12388"/>
                    <a:pt x="14625" y="12510"/>
                    <a:pt x="14629" y="12633"/>
                  </a:cubicBezTo>
                  <a:cubicBezTo>
                    <a:pt x="14630" y="12637"/>
                    <a:pt x="14629" y="12642"/>
                    <a:pt x="14630" y="12646"/>
                  </a:cubicBezTo>
                  <a:cubicBezTo>
                    <a:pt x="14660" y="12785"/>
                    <a:pt x="14623" y="12922"/>
                    <a:pt x="14613" y="13060"/>
                  </a:cubicBezTo>
                  <a:cubicBezTo>
                    <a:pt x="14607" y="13160"/>
                    <a:pt x="14607" y="13260"/>
                    <a:pt x="14596" y="13359"/>
                  </a:cubicBezTo>
                  <a:cubicBezTo>
                    <a:pt x="14584" y="13469"/>
                    <a:pt x="14597" y="13579"/>
                    <a:pt x="14596" y="13689"/>
                  </a:cubicBezTo>
                  <a:cubicBezTo>
                    <a:pt x="14595" y="13851"/>
                    <a:pt x="14594" y="14013"/>
                    <a:pt x="14594" y="14175"/>
                  </a:cubicBezTo>
                  <a:cubicBezTo>
                    <a:pt x="14594" y="14220"/>
                    <a:pt x="14600" y="14266"/>
                    <a:pt x="14605" y="14311"/>
                  </a:cubicBezTo>
                  <a:cubicBezTo>
                    <a:pt x="14621" y="14465"/>
                    <a:pt x="14592" y="14618"/>
                    <a:pt x="14604" y="14772"/>
                  </a:cubicBezTo>
                  <a:cubicBezTo>
                    <a:pt x="14613" y="14880"/>
                    <a:pt x="14614" y="14988"/>
                    <a:pt x="14640" y="15094"/>
                  </a:cubicBezTo>
                  <a:cubicBezTo>
                    <a:pt x="14642" y="15102"/>
                    <a:pt x="14642" y="15111"/>
                    <a:pt x="14646" y="15118"/>
                  </a:cubicBezTo>
                  <a:cubicBezTo>
                    <a:pt x="14654" y="15133"/>
                    <a:pt x="14653" y="15159"/>
                    <a:pt x="14678" y="15157"/>
                  </a:cubicBezTo>
                  <a:cubicBezTo>
                    <a:pt x="14699" y="15155"/>
                    <a:pt x="14705" y="15133"/>
                    <a:pt x="14711" y="15115"/>
                  </a:cubicBezTo>
                  <a:cubicBezTo>
                    <a:pt x="14722" y="15078"/>
                    <a:pt x="14718" y="15041"/>
                    <a:pt x="14711" y="15004"/>
                  </a:cubicBezTo>
                  <a:cubicBezTo>
                    <a:pt x="14703" y="14965"/>
                    <a:pt x="14713" y="14931"/>
                    <a:pt x="14744" y="14903"/>
                  </a:cubicBezTo>
                  <a:cubicBezTo>
                    <a:pt x="14775" y="14874"/>
                    <a:pt x="14807" y="14865"/>
                    <a:pt x="14846" y="14884"/>
                  </a:cubicBezTo>
                  <a:cubicBezTo>
                    <a:pt x="14871" y="14895"/>
                    <a:pt x="14896" y="14904"/>
                    <a:pt x="14922" y="14913"/>
                  </a:cubicBezTo>
                  <a:cubicBezTo>
                    <a:pt x="14956" y="14924"/>
                    <a:pt x="14967" y="14916"/>
                    <a:pt x="14968" y="14879"/>
                  </a:cubicBezTo>
                  <a:cubicBezTo>
                    <a:pt x="14969" y="14871"/>
                    <a:pt x="14967" y="14862"/>
                    <a:pt x="14967" y="14854"/>
                  </a:cubicBezTo>
                  <a:cubicBezTo>
                    <a:pt x="14965" y="14785"/>
                    <a:pt x="14965" y="14785"/>
                    <a:pt x="14900" y="14801"/>
                  </a:cubicBezTo>
                  <a:cubicBezTo>
                    <a:pt x="14881" y="14805"/>
                    <a:pt x="14867" y="14800"/>
                    <a:pt x="14854" y="14789"/>
                  </a:cubicBezTo>
                  <a:cubicBezTo>
                    <a:pt x="14805" y="14750"/>
                    <a:pt x="14813" y="14673"/>
                    <a:pt x="14872" y="14645"/>
                  </a:cubicBezTo>
                  <a:cubicBezTo>
                    <a:pt x="14904" y="14630"/>
                    <a:pt x="14906" y="14619"/>
                    <a:pt x="14894" y="14590"/>
                  </a:cubicBezTo>
                  <a:cubicBezTo>
                    <a:pt x="14869" y="14532"/>
                    <a:pt x="14888" y="14485"/>
                    <a:pt x="14942" y="14454"/>
                  </a:cubicBezTo>
                  <a:cubicBezTo>
                    <a:pt x="14959" y="14444"/>
                    <a:pt x="14973" y="14446"/>
                    <a:pt x="14989" y="14455"/>
                  </a:cubicBezTo>
                  <a:cubicBezTo>
                    <a:pt x="15006" y="14465"/>
                    <a:pt x="15015" y="14481"/>
                    <a:pt x="15025" y="14497"/>
                  </a:cubicBezTo>
                  <a:cubicBezTo>
                    <a:pt x="15043" y="14529"/>
                    <a:pt x="15060" y="14530"/>
                    <a:pt x="15076" y="14496"/>
                  </a:cubicBezTo>
                  <a:cubicBezTo>
                    <a:pt x="15092" y="14463"/>
                    <a:pt x="15123" y="14457"/>
                    <a:pt x="15150" y="14445"/>
                  </a:cubicBezTo>
                  <a:cubicBezTo>
                    <a:pt x="15185" y="14430"/>
                    <a:pt x="15211" y="14445"/>
                    <a:pt x="15221" y="14483"/>
                  </a:cubicBezTo>
                  <a:cubicBezTo>
                    <a:pt x="15235" y="14534"/>
                    <a:pt x="15231" y="14582"/>
                    <a:pt x="15186" y="14619"/>
                  </a:cubicBezTo>
                  <a:cubicBezTo>
                    <a:pt x="15181" y="14623"/>
                    <a:pt x="15176" y="14627"/>
                    <a:pt x="15171" y="14631"/>
                  </a:cubicBezTo>
                  <a:cubicBezTo>
                    <a:pt x="15148" y="14654"/>
                    <a:pt x="15149" y="14660"/>
                    <a:pt x="15177" y="14675"/>
                  </a:cubicBezTo>
                  <a:cubicBezTo>
                    <a:pt x="15184" y="14679"/>
                    <a:pt x="15193" y="14681"/>
                    <a:pt x="15199" y="14686"/>
                  </a:cubicBezTo>
                  <a:cubicBezTo>
                    <a:pt x="15224" y="14703"/>
                    <a:pt x="15235" y="14727"/>
                    <a:pt x="15231" y="14756"/>
                  </a:cubicBezTo>
                  <a:cubicBezTo>
                    <a:pt x="15226" y="14785"/>
                    <a:pt x="15212" y="14807"/>
                    <a:pt x="15182" y="14815"/>
                  </a:cubicBezTo>
                  <a:cubicBezTo>
                    <a:pt x="15154" y="14823"/>
                    <a:pt x="15126" y="14828"/>
                    <a:pt x="15096" y="14819"/>
                  </a:cubicBezTo>
                  <a:cubicBezTo>
                    <a:pt x="15082" y="14815"/>
                    <a:pt x="15068" y="14812"/>
                    <a:pt x="15054" y="14810"/>
                  </a:cubicBezTo>
                  <a:cubicBezTo>
                    <a:pt x="15031" y="14808"/>
                    <a:pt x="15016" y="14817"/>
                    <a:pt x="15020" y="14842"/>
                  </a:cubicBezTo>
                  <a:cubicBezTo>
                    <a:pt x="15027" y="14889"/>
                    <a:pt x="15022" y="14937"/>
                    <a:pt x="15046" y="14982"/>
                  </a:cubicBezTo>
                  <a:cubicBezTo>
                    <a:pt x="15067" y="15024"/>
                    <a:pt x="15069" y="15070"/>
                    <a:pt x="15062" y="15116"/>
                  </a:cubicBezTo>
                  <a:cubicBezTo>
                    <a:pt x="15059" y="15135"/>
                    <a:pt x="15052" y="15153"/>
                    <a:pt x="15073" y="15169"/>
                  </a:cubicBezTo>
                  <a:cubicBezTo>
                    <a:pt x="15106" y="15139"/>
                    <a:pt x="15118" y="15108"/>
                    <a:pt x="15101" y="15064"/>
                  </a:cubicBezTo>
                  <a:cubicBezTo>
                    <a:pt x="15071" y="14987"/>
                    <a:pt x="15116" y="14902"/>
                    <a:pt x="15197" y="14878"/>
                  </a:cubicBezTo>
                  <a:cubicBezTo>
                    <a:pt x="15213" y="14873"/>
                    <a:pt x="15220" y="14882"/>
                    <a:pt x="15218" y="14898"/>
                  </a:cubicBezTo>
                  <a:cubicBezTo>
                    <a:pt x="15217" y="14904"/>
                    <a:pt x="15214" y="14910"/>
                    <a:pt x="15211" y="14915"/>
                  </a:cubicBezTo>
                  <a:cubicBezTo>
                    <a:pt x="15174" y="14968"/>
                    <a:pt x="15194" y="15024"/>
                    <a:pt x="15205" y="15078"/>
                  </a:cubicBezTo>
                  <a:cubicBezTo>
                    <a:pt x="15211" y="15103"/>
                    <a:pt x="15227" y="15102"/>
                    <a:pt x="15292" y="15076"/>
                  </a:cubicBezTo>
                  <a:cubicBezTo>
                    <a:pt x="15313" y="15067"/>
                    <a:pt x="15317" y="15053"/>
                    <a:pt x="15304" y="15038"/>
                  </a:cubicBezTo>
                  <a:cubicBezTo>
                    <a:pt x="15279" y="15009"/>
                    <a:pt x="15277" y="14978"/>
                    <a:pt x="15283" y="14944"/>
                  </a:cubicBezTo>
                  <a:cubicBezTo>
                    <a:pt x="15294" y="14889"/>
                    <a:pt x="15330" y="14877"/>
                    <a:pt x="15371" y="14913"/>
                  </a:cubicBezTo>
                  <a:cubicBezTo>
                    <a:pt x="15395" y="14934"/>
                    <a:pt x="15420" y="14954"/>
                    <a:pt x="15428" y="14986"/>
                  </a:cubicBezTo>
                  <a:cubicBezTo>
                    <a:pt x="15430" y="14997"/>
                    <a:pt x="15436" y="15006"/>
                    <a:pt x="15448" y="15007"/>
                  </a:cubicBezTo>
                  <a:cubicBezTo>
                    <a:pt x="15462" y="15008"/>
                    <a:pt x="15470" y="14998"/>
                    <a:pt x="15475" y="14986"/>
                  </a:cubicBezTo>
                  <a:cubicBezTo>
                    <a:pt x="15480" y="14972"/>
                    <a:pt x="15482" y="14957"/>
                    <a:pt x="15488" y="14944"/>
                  </a:cubicBezTo>
                  <a:cubicBezTo>
                    <a:pt x="15505" y="14909"/>
                    <a:pt x="15528" y="14895"/>
                    <a:pt x="15555" y="14903"/>
                  </a:cubicBezTo>
                  <a:cubicBezTo>
                    <a:pt x="15602" y="14916"/>
                    <a:pt x="15621" y="14939"/>
                    <a:pt x="15619" y="14980"/>
                  </a:cubicBezTo>
                  <a:cubicBezTo>
                    <a:pt x="15617" y="15010"/>
                    <a:pt x="15611" y="15040"/>
                    <a:pt x="15589" y="15061"/>
                  </a:cubicBezTo>
                  <a:cubicBezTo>
                    <a:pt x="15564" y="15085"/>
                    <a:pt x="15574" y="15099"/>
                    <a:pt x="15598" y="15114"/>
                  </a:cubicBezTo>
                  <a:cubicBezTo>
                    <a:pt x="15612" y="15122"/>
                    <a:pt x="15626" y="15130"/>
                    <a:pt x="15630" y="15149"/>
                  </a:cubicBezTo>
                  <a:cubicBezTo>
                    <a:pt x="15638" y="15187"/>
                    <a:pt x="15615" y="15219"/>
                    <a:pt x="15574" y="15221"/>
                  </a:cubicBezTo>
                  <a:cubicBezTo>
                    <a:pt x="15562" y="15222"/>
                    <a:pt x="15550" y="15217"/>
                    <a:pt x="15538" y="15214"/>
                  </a:cubicBezTo>
                  <a:cubicBezTo>
                    <a:pt x="15515" y="15210"/>
                    <a:pt x="15502" y="15213"/>
                    <a:pt x="15507" y="15243"/>
                  </a:cubicBezTo>
                  <a:cubicBezTo>
                    <a:pt x="15513" y="15283"/>
                    <a:pt x="15501" y="15307"/>
                    <a:pt x="15462" y="15318"/>
                  </a:cubicBezTo>
                  <a:cubicBezTo>
                    <a:pt x="15416" y="15330"/>
                    <a:pt x="15385" y="15358"/>
                    <a:pt x="15354" y="15388"/>
                  </a:cubicBezTo>
                  <a:cubicBezTo>
                    <a:pt x="15343" y="15398"/>
                    <a:pt x="15331" y="15407"/>
                    <a:pt x="15319" y="15414"/>
                  </a:cubicBezTo>
                  <a:cubicBezTo>
                    <a:pt x="15239" y="15464"/>
                    <a:pt x="15228" y="15542"/>
                    <a:pt x="15233" y="15626"/>
                  </a:cubicBezTo>
                  <a:cubicBezTo>
                    <a:pt x="15234" y="15641"/>
                    <a:pt x="15237" y="15658"/>
                    <a:pt x="15255" y="15659"/>
                  </a:cubicBezTo>
                  <a:cubicBezTo>
                    <a:pt x="15278" y="15660"/>
                    <a:pt x="15282" y="15642"/>
                    <a:pt x="15282" y="15625"/>
                  </a:cubicBezTo>
                  <a:cubicBezTo>
                    <a:pt x="15284" y="15592"/>
                    <a:pt x="15283" y="15558"/>
                    <a:pt x="15285" y="15525"/>
                  </a:cubicBezTo>
                  <a:cubicBezTo>
                    <a:pt x="15285" y="15518"/>
                    <a:pt x="15291" y="15507"/>
                    <a:pt x="15297" y="15505"/>
                  </a:cubicBezTo>
                  <a:cubicBezTo>
                    <a:pt x="15308" y="15500"/>
                    <a:pt x="15314" y="15511"/>
                    <a:pt x="15319" y="15520"/>
                  </a:cubicBezTo>
                  <a:cubicBezTo>
                    <a:pt x="15354" y="15582"/>
                    <a:pt x="15378" y="15648"/>
                    <a:pt x="15380" y="15721"/>
                  </a:cubicBezTo>
                  <a:cubicBezTo>
                    <a:pt x="15380" y="15766"/>
                    <a:pt x="15391" y="15807"/>
                    <a:pt x="15414" y="15846"/>
                  </a:cubicBezTo>
                  <a:cubicBezTo>
                    <a:pt x="15422" y="15859"/>
                    <a:pt x="15428" y="15874"/>
                    <a:pt x="15446" y="15871"/>
                  </a:cubicBezTo>
                  <a:cubicBezTo>
                    <a:pt x="15465" y="15868"/>
                    <a:pt x="15470" y="15850"/>
                    <a:pt x="15474" y="15834"/>
                  </a:cubicBezTo>
                  <a:cubicBezTo>
                    <a:pt x="15480" y="15812"/>
                    <a:pt x="15456" y="15791"/>
                    <a:pt x="15470" y="15768"/>
                  </a:cubicBezTo>
                  <a:cubicBezTo>
                    <a:pt x="15511" y="15780"/>
                    <a:pt x="15552" y="15826"/>
                    <a:pt x="15556" y="15866"/>
                  </a:cubicBezTo>
                  <a:cubicBezTo>
                    <a:pt x="15557" y="15874"/>
                    <a:pt x="15555" y="15883"/>
                    <a:pt x="15556" y="15891"/>
                  </a:cubicBezTo>
                  <a:cubicBezTo>
                    <a:pt x="15559" y="15914"/>
                    <a:pt x="15545" y="15946"/>
                    <a:pt x="15583" y="15951"/>
                  </a:cubicBezTo>
                  <a:cubicBezTo>
                    <a:pt x="15612" y="15955"/>
                    <a:pt x="15653" y="15921"/>
                    <a:pt x="15658" y="15891"/>
                  </a:cubicBezTo>
                  <a:cubicBezTo>
                    <a:pt x="15659" y="15887"/>
                    <a:pt x="15658" y="15883"/>
                    <a:pt x="15659" y="15879"/>
                  </a:cubicBezTo>
                  <a:cubicBezTo>
                    <a:pt x="15684" y="15784"/>
                    <a:pt x="15666" y="15707"/>
                    <a:pt x="15571" y="15659"/>
                  </a:cubicBezTo>
                  <a:cubicBezTo>
                    <a:pt x="15554" y="15651"/>
                    <a:pt x="15542" y="15636"/>
                    <a:pt x="15528" y="15623"/>
                  </a:cubicBezTo>
                  <a:cubicBezTo>
                    <a:pt x="15517" y="15612"/>
                    <a:pt x="15510" y="15599"/>
                    <a:pt x="15520" y="15584"/>
                  </a:cubicBezTo>
                  <a:cubicBezTo>
                    <a:pt x="15527" y="15571"/>
                    <a:pt x="15541" y="15571"/>
                    <a:pt x="15553" y="15574"/>
                  </a:cubicBezTo>
                  <a:cubicBezTo>
                    <a:pt x="15578" y="15579"/>
                    <a:pt x="15602" y="15584"/>
                    <a:pt x="15623" y="15599"/>
                  </a:cubicBezTo>
                  <a:cubicBezTo>
                    <a:pt x="15634" y="15605"/>
                    <a:pt x="15645" y="15612"/>
                    <a:pt x="15657" y="15615"/>
                  </a:cubicBezTo>
                  <a:cubicBezTo>
                    <a:pt x="15674" y="15620"/>
                    <a:pt x="15690" y="15616"/>
                    <a:pt x="15697" y="15597"/>
                  </a:cubicBezTo>
                  <a:cubicBezTo>
                    <a:pt x="15704" y="15581"/>
                    <a:pt x="15696" y="15568"/>
                    <a:pt x="15683" y="15559"/>
                  </a:cubicBezTo>
                  <a:cubicBezTo>
                    <a:pt x="15667" y="15550"/>
                    <a:pt x="15651" y="15540"/>
                    <a:pt x="15633" y="15533"/>
                  </a:cubicBezTo>
                  <a:cubicBezTo>
                    <a:pt x="15593" y="15518"/>
                    <a:pt x="15577" y="15479"/>
                    <a:pt x="15551" y="15451"/>
                  </a:cubicBezTo>
                  <a:cubicBezTo>
                    <a:pt x="15544" y="15443"/>
                    <a:pt x="15541" y="15431"/>
                    <a:pt x="15547" y="15422"/>
                  </a:cubicBezTo>
                  <a:cubicBezTo>
                    <a:pt x="15555" y="15408"/>
                    <a:pt x="15568" y="15410"/>
                    <a:pt x="15580" y="15414"/>
                  </a:cubicBezTo>
                  <a:cubicBezTo>
                    <a:pt x="15610" y="15424"/>
                    <a:pt x="15639" y="15434"/>
                    <a:pt x="15669" y="15445"/>
                  </a:cubicBezTo>
                  <a:cubicBezTo>
                    <a:pt x="15691" y="15453"/>
                    <a:pt x="15706" y="15451"/>
                    <a:pt x="15718" y="15425"/>
                  </a:cubicBezTo>
                  <a:cubicBezTo>
                    <a:pt x="15747" y="15364"/>
                    <a:pt x="15742" y="15348"/>
                    <a:pt x="15679" y="15322"/>
                  </a:cubicBezTo>
                  <a:cubicBezTo>
                    <a:pt x="15671" y="15319"/>
                    <a:pt x="15663" y="15317"/>
                    <a:pt x="15656" y="15313"/>
                  </a:cubicBezTo>
                  <a:cubicBezTo>
                    <a:pt x="15643" y="15306"/>
                    <a:pt x="15628" y="15300"/>
                    <a:pt x="15630" y="15282"/>
                  </a:cubicBezTo>
                  <a:cubicBezTo>
                    <a:pt x="15632" y="15268"/>
                    <a:pt x="15646" y="15264"/>
                    <a:pt x="15657" y="15260"/>
                  </a:cubicBezTo>
                  <a:cubicBezTo>
                    <a:pt x="15680" y="15250"/>
                    <a:pt x="15702" y="15237"/>
                    <a:pt x="15728" y="15237"/>
                  </a:cubicBezTo>
                  <a:cubicBezTo>
                    <a:pt x="15759" y="15237"/>
                    <a:pt x="15768" y="15219"/>
                    <a:pt x="15765" y="15192"/>
                  </a:cubicBezTo>
                  <a:cubicBezTo>
                    <a:pt x="15764" y="15171"/>
                    <a:pt x="15760" y="15147"/>
                    <a:pt x="15780" y="15135"/>
                  </a:cubicBezTo>
                  <a:cubicBezTo>
                    <a:pt x="15808" y="15118"/>
                    <a:pt x="15836" y="15098"/>
                    <a:pt x="15872" y="15100"/>
                  </a:cubicBezTo>
                  <a:cubicBezTo>
                    <a:pt x="15896" y="15101"/>
                    <a:pt x="15909" y="15114"/>
                    <a:pt x="15915" y="15137"/>
                  </a:cubicBezTo>
                  <a:cubicBezTo>
                    <a:pt x="15919" y="15156"/>
                    <a:pt x="15916" y="15174"/>
                    <a:pt x="15914" y="15193"/>
                  </a:cubicBezTo>
                  <a:cubicBezTo>
                    <a:pt x="15909" y="15230"/>
                    <a:pt x="15912" y="15233"/>
                    <a:pt x="15948" y="15230"/>
                  </a:cubicBezTo>
                  <a:cubicBezTo>
                    <a:pt x="15984" y="15227"/>
                    <a:pt x="15992" y="15234"/>
                    <a:pt x="15991" y="15269"/>
                  </a:cubicBezTo>
                  <a:cubicBezTo>
                    <a:pt x="15991" y="15309"/>
                    <a:pt x="15967" y="15338"/>
                    <a:pt x="15926" y="15348"/>
                  </a:cubicBezTo>
                  <a:cubicBezTo>
                    <a:pt x="15914" y="15351"/>
                    <a:pt x="15902" y="15355"/>
                    <a:pt x="15889" y="15355"/>
                  </a:cubicBezTo>
                  <a:cubicBezTo>
                    <a:pt x="15830" y="15355"/>
                    <a:pt x="15808" y="15399"/>
                    <a:pt x="15786" y="15441"/>
                  </a:cubicBezTo>
                  <a:cubicBezTo>
                    <a:pt x="15777" y="15459"/>
                    <a:pt x="15789" y="15473"/>
                    <a:pt x="15810" y="15471"/>
                  </a:cubicBezTo>
                  <a:cubicBezTo>
                    <a:pt x="15823" y="15471"/>
                    <a:pt x="15834" y="15465"/>
                    <a:pt x="15845" y="15459"/>
                  </a:cubicBezTo>
                  <a:cubicBezTo>
                    <a:pt x="15860" y="15451"/>
                    <a:pt x="15875" y="15444"/>
                    <a:pt x="15891" y="15439"/>
                  </a:cubicBezTo>
                  <a:cubicBezTo>
                    <a:pt x="15904" y="15434"/>
                    <a:pt x="15920" y="15430"/>
                    <a:pt x="15932" y="15442"/>
                  </a:cubicBezTo>
                  <a:cubicBezTo>
                    <a:pt x="15946" y="15458"/>
                    <a:pt x="15937" y="15473"/>
                    <a:pt x="15929" y="15488"/>
                  </a:cubicBezTo>
                  <a:cubicBezTo>
                    <a:pt x="15914" y="15516"/>
                    <a:pt x="15893" y="15539"/>
                    <a:pt x="15866" y="15557"/>
                  </a:cubicBezTo>
                  <a:cubicBezTo>
                    <a:pt x="15852" y="15566"/>
                    <a:pt x="15839" y="15575"/>
                    <a:pt x="15826" y="15586"/>
                  </a:cubicBezTo>
                  <a:cubicBezTo>
                    <a:pt x="15820" y="15592"/>
                    <a:pt x="15819" y="15601"/>
                    <a:pt x="15823" y="15609"/>
                  </a:cubicBezTo>
                  <a:cubicBezTo>
                    <a:pt x="15828" y="15617"/>
                    <a:pt x="15835" y="15622"/>
                    <a:pt x="15844" y="15620"/>
                  </a:cubicBezTo>
                  <a:cubicBezTo>
                    <a:pt x="15862" y="15615"/>
                    <a:pt x="15879" y="15608"/>
                    <a:pt x="15901" y="15600"/>
                  </a:cubicBezTo>
                  <a:cubicBezTo>
                    <a:pt x="15895" y="15655"/>
                    <a:pt x="15883" y="15704"/>
                    <a:pt x="15845" y="15742"/>
                  </a:cubicBezTo>
                  <a:cubicBezTo>
                    <a:pt x="15834" y="15753"/>
                    <a:pt x="15824" y="15763"/>
                    <a:pt x="15814" y="15773"/>
                  </a:cubicBezTo>
                  <a:cubicBezTo>
                    <a:pt x="15737" y="15844"/>
                    <a:pt x="15741" y="15900"/>
                    <a:pt x="15787" y="15979"/>
                  </a:cubicBezTo>
                  <a:cubicBezTo>
                    <a:pt x="15808" y="15965"/>
                    <a:pt x="15801" y="15948"/>
                    <a:pt x="15796" y="15930"/>
                  </a:cubicBezTo>
                  <a:cubicBezTo>
                    <a:pt x="15791" y="15918"/>
                    <a:pt x="15789" y="15905"/>
                    <a:pt x="15804" y="15898"/>
                  </a:cubicBezTo>
                  <a:cubicBezTo>
                    <a:pt x="15817" y="15892"/>
                    <a:pt x="15828" y="15900"/>
                    <a:pt x="15837" y="15908"/>
                  </a:cubicBezTo>
                  <a:cubicBezTo>
                    <a:pt x="15858" y="15926"/>
                    <a:pt x="15870" y="15950"/>
                    <a:pt x="15878" y="15977"/>
                  </a:cubicBezTo>
                  <a:cubicBezTo>
                    <a:pt x="15889" y="16016"/>
                    <a:pt x="15892" y="16016"/>
                    <a:pt x="15919" y="15987"/>
                  </a:cubicBezTo>
                  <a:cubicBezTo>
                    <a:pt x="15935" y="15971"/>
                    <a:pt x="15946" y="15979"/>
                    <a:pt x="15956" y="15989"/>
                  </a:cubicBezTo>
                  <a:cubicBezTo>
                    <a:pt x="15968" y="16003"/>
                    <a:pt x="15977" y="16020"/>
                    <a:pt x="15987" y="16035"/>
                  </a:cubicBezTo>
                  <a:cubicBezTo>
                    <a:pt x="15995" y="16046"/>
                    <a:pt x="16001" y="16065"/>
                    <a:pt x="16019" y="16058"/>
                  </a:cubicBezTo>
                  <a:cubicBezTo>
                    <a:pt x="16038" y="16052"/>
                    <a:pt x="16033" y="16033"/>
                    <a:pt x="16028" y="16021"/>
                  </a:cubicBezTo>
                  <a:cubicBezTo>
                    <a:pt x="16010" y="15975"/>
                    <a:pt x="16031" y="15945"/>
                    <a:pt x="16064" y="15919"/>
                  </a:cubicBezTo>
                  <a:cubicBezTo>
                    <a:pt x="16096" y="15893"/>
                    <a:pt x="16103" y="15894"/>
                    <a:pt x="16110" y="15934"/>
                  </a:cubicBezTo>
                  <a:cubicBezTo>
                    <a:pt x="16117" y="15979"/>
                    <a:pt x="16137" y="16017"/>
                    <a:pt x="16165" y="16052"/>
                  </a:cubicBezTo>
                  <a:cubicBezTo>
                    <a:pt x="16185" y="16075"/>
                    <a:pt x="16198" y="16075"/>
                    <a:pt x="16211" y="16047"/>
                  </a:cubicBezTo>
                  <a:cubicBezTo>
                    <a:pt x="16229" y="16008"/>
                    <a:pt x="16255" y="15985"/>
                    <a:pt x="16300" y="15980"/>
                  </a:cubicBezTo>
                  <a:cubicBezTo>
                    <a:pt x="16332" y="15977"/>
                    <a:pt x="16339" y="15961"/>
                    <a:pt x="16331" y="15927"/>
                  </a:cubicBezTo>
                  <a:cubicBezTo>
                    <a:pt x="16330" y="15921"/>
                    <a:pt x="16326" y="15915"/>
                    <a:pt x="16325" y="15909"/>
                  </a:cubicBezTo>
                  <a:cubicBezTo>
                    <a:pt x="16322" y="15893"/>
                    <a:pt x="16327" y="15879"/>
                    <a:pt x="16344" y="15876"/>
                  </a:cubicBezTo>
                  <a:cubicBezTo>
                    <a:pt x="16364" y="15872"/>
                    <a:pt x="16368" y="15888"/>
                    <a:pt x="16369" y="15903"/>
                  </a:cubicBezTo>
                  <a:cubicBezTo>
                    <a:pt x="16371" y="15936"/>
                    <a:pt x="16373" y="15970"/>
                    <a:pt x="16376" y="16003"/>
                  </a:cubicBezTo>
                  <a:cubicBezTo>
                    <a:pt x="16376" y="16013"/>
                    <a:pt x="16376" y="16024"/>
                    <a:pt x="16390" y="16031"/>
                  </a:cubicBezTo>
                  <a:cubicBezTo>
                    <a:pt x="16453" y="16003"/>
                    <a:pt x="16417" y="15940"/>
                    <a:pt x="16433" y="15891"/>
                  </a:cubicBezTo>
                  <a:cubicBezTo>
                    <a:pt x="16471" y="15903"/>
                    <a:pt x="16481" y="15937"/>
                    <a:pt x="16498" y="15963"/>
                  </a:cubicBezTo>
                  <a:cubicBezTo>
                    <a:pt x="16506" y="15974"/>
                    <a:pt x="16509" y="15990"/>
                    <a:pt x="16515" y="16003"/>
                  </a:cubicBezTo>
                  <a:cubicBezTo>
                    <a:pt x="16532" y="16041"/>
                    <a:pt x="16545" y="16045"/>
                    <a:pt x="16579" y="16020"/>
                  </a:cubicBezTo>
                  <a:cubicBezTo>
                    <a:pt x="16602" y="16003"/>
                    <a:pt x="16625" y="15993"/>
                    <a:pt x="16654" y="15998"/>
                  </a:cubicBezTo>
                  <a:cubicBezTo>
                    <a:pt x="16670" y="16001"/>
                    <a:pt x="16688" y="16003"/>
                    <a:pt x="16704" y="15998"/>
                  </a:cubicBezTo>
                  <a:cubicBezTo>
                    <a:pt x="16737" y="15988"/>
                    <a:pt x="16764" y="15994"/>
                    <a:pt x="16792" y="16014"/>
                  </a:cubicBezTo>
                  <a:cubicBezTo>
                    <a:pt x="16801" y="16021"/>
                    <a:pt x="16814" y="16025"/>
                    <a:pt x="16826" y="16025"/>
                  </a:cubicBezTo>
                  <a:cubicBezTo>
                    <a:pt x="16846" y="16027"/>
                    <a:pt x="16864" y="16013"/>
                    <a:pt x="16855" y="15996"/>
                  </a:cubicBezTo>
                  <a:cubicBezTo>
                    <a:pt x="16830" y="15947"/>
                    <a:pt x="16865" y="15915"/>
                    <a:pt x="16884" y="15882"/>
                  </a:cubicBezTo>
                  <a:cubicBezTo>
                    <a:pt x="16900" y="15855"/>
                    <a:pt x="16910" y="15831"/>
                    <a:pt x="16905" y="15801"/>
                  </a:cubicBezTo>
                  <a:cubicBezTo>
                    <a:pt x="16898" y="15756"/>
                    <a:pt x="16915" y="15723"/>
                    <a:pt x="16951" y="15693"/>
                  </a:cubicBezTo>
                  <a:cubicBezTo>
                    <a:pt x="17003" y="15649"/>
                    <a:pt x="17053" y="15602"/>
                    <a:pt x="17110" y="15564"/>
                  </a:cubicBezTo>
                  <a:cubicBezTo>
                    <a:pt x="17120" y="15557"/>
                    <a:pt x="17133" y="15549"/>
                    <a:pt x="17122" y="15535"/>
                  </a:cubicBezTo>
                  <a:cubicBezTo>
                    <a:pt x="17113" y="15524"/>
                    <a:pt x="17098" y="15525"/>
                    <a:pt x="17089" y="15534"/>
                  </a:cubicBezTo>
                  <a:cubicBezTo>
                    <a:pt x="17067" y="15555"/>
                    <a:pt x="17043" y="15561"/>
                    <a:pt x="17014" y="15555"/>
                  </a:cubicBezTo>
                  <a:cubicBezTo>
                    <a:pt x="16990" y="15550"/>
                    <a:pt x="16977" y="15563"/>
                    <a:pt x="16969" y="15587"/>
                  </a:cubicBezTo>
                  <a:cubicBezTo>
                    <a:pt x="16957" y="15618"/>
                    <a:pt x="16938" y="15644"/>
                    <a:pt x="16893" y="15659"/>
                  </a:cubicBezTo>
                  <a:cubicBezTo>
                    <a:pt x="16910" y="15612"/>
                    <a:pt x="16914" y="15571"/>
                    <a:pt x="16922" y="15531"/>
                  </a:cubicBezTo>
                  <a:cubicBezTo>
                    <a:pt x="16933" y="15477"/>
                    <a:pt x="16967" y="15447"/>
                    <a:pt x="17020" y="15441"/>
                  </a:cubicBezTo>
                  <a:cubicBezTo>
                    <a:pt x="17057" y="15437"/>
                    <a:pt x="17079" y="15431"/>
                    <a:pt x="17084" y="15385"/>
                  </a:cubicBezTo>
                  <a:cubicBezTo>
                    <a:pt x="17090" y="15333"/>
                    <a:pt x="17144" y="15304"/>
                    <a:pt x="17198" y="15316"/>
                  </a:cubicBezTo>
                  <a:cubicBezTo>
                    <a:pt x="17225" y="15322"/>
                    <a:pt x="17250" y="15338"/>
                    <a:pt x="17250" y="15289"/>
                  </a:cubicBezTo>
                  <a:cubicBezTo>
                    <a:pt x="17250" y="15268"/>
                    <a:pt x="17294" y="15263"/>
                    <a:pt x="17312" y="15281"/>
                  </a:cubicBezTo>
                  <a:cubicBezTo>
                    <a:pt x="17320" y="15288"/>
                    <a:pt x="17325" y="15298"/>
                    <a:pt x="17328" y="15308"/>
                  </a:cubicBezTo>
                  <a:cubicBezTo>
                    <a:pt x="17338" y="15337"/>
                    <a:pt x="17359" y="15353"/>
                    <a:pt x="17389" y="15354"/>
                  </a:cubicBezTo>
                  <a:cubicBezTo>
                    <a:pt x="17425" y="15355"/>
                    <a:pt x="17450" y="15369"/>
                    <a:pt x="17473" y="15398"/>
                  </a:cubicBezTo>
                  <a:cubicBezTo>
                    <a:pt x="17498" y="15431"/>
                    <a:pt x="17532" y="15443"/>
                    <a:pt x="17578" y="15430"/>
                  </a:cubicBezTo>
                  <a:cubicBezTo>
                    <a:pt x="17633" y="15415"/>
                    <a:pt x="17692" y="15410"/>
                    <a:pt x="17750" y="15402"/>
                  </a:cubicBezTo>
                  <a:cubicBezTo>
                    <a:pt x="17781" y="15398"/>
                    <a:pt x="17812" y="15394"/>
                    <a:pt x="17837" y="15373"/>
                  </a:cubicBezTo>
                  <a:cubicBezTo>
                    <a:pt x="17850" y="15362"/>
                    <a:pt x="17862" y="15349"/>
                    <a:pt x="17854" y="15330"/>
                  </a:cubicBezTo>
                  <a:cubicBezTo>
                    <a:pt x="17846" y="15312"/>
                    <a:pt x="17830" y="15319"/>
                    <a:pt x="17816" y="15319"/>
                  </a:cubicBezTo>
                  <a:cubicBezTo>
                    <a:pt x="17768" y="15320"/>
                    <a:pt x="17766" y="15315"/>
                    <a:pt x="17778" y="15270"/>
                  </a:cubicBezTo>
                  <a:cubicBezTo>
                    <a:pt x="17787" y="15237"/>
                    <a:pt x="17801" y="15208"/>
                    <a:pt x="17830" y="15189"/>
                  </a:cubicBezTo>
                  <a:cubicBezTo>
                    <a:pt x="17862" y="15168"/>
                    <a:pt x="17871" y="15138"/>
                    <a:pt x="17866" y="15102"/>
                  </a:cubicBezTo>
                  <a:cubicBezTo>
                    <a:pt x="17865" y="15096"/>
                    <a:pt x="17863" y="15089"/>
                    <a:pt x="17863" y="15084"/>
                  </a:cubicBezTo>
                  <a:cubicBezTo>
                    <a:pt x="17873" y="15007"/>
                    <a:pt x="17829" y="14963"/>
                    <a:pt x="17769" y="14932"/>
                  </a:cubicBezTo>
                  <a:cubicBezTo>
                    <a:pt x="17728" y="14912"/>
                    <a:pt x="17699" y="14881"/>
                    <a:pt x="17667" y="14850"/>
                  </a:cubicBezTo>
                  <a:cubicBezTo>
                    <a:pt x="17643" y="14827"/>
                    <a:pt x="17619" y="14804"/>
                    <a:pt x="17592" y="14785"/>
                  </a:cubicBezTo>
                  <a:cubicBezTo>
                    <a:pt x="17560" y="14763"/>
                    <a:pt x="17539" y="14772"/>
                    <a:pt x="17527" y="14809"/>
                  </a:cubicBezTo>
                  <a:cubicBezTo>
                    <a:pt x="17519" y="14833"/>
                    <a:pt x="17506" y="14858"/>
                    <a:pt x="17519" y="14882"/>
                  </a:cubicBezTo>
                  <a:cubicBezTo>
                    <a:pt x="17546" y="14933"/>
                    <a:pt x="17543" y="14991"/>
                    <a:pt x="17561" y="15044"/>
                  </a:cubicBezTo>
                  <a:cubicBezTo>
                    <a:pt x="17570" y="15069"/>
                    <a:pt x="17575" y="15096"/>
                    <a:pt x="17594" y="15117"/>
                  </a:cubicBezTo>
                  <a:cubicBezTo>
                    <a:pt x="17603" y="15128"/>
                    <a:pt x="17612" y="15141"/>
                    <a:pt x="17600" y="15156"/>
                  </a:cubicBezTo>
                  <a:cubicBezTo>
                    <a:pt x="17588" y="15170"/>
                    <a:pt x="17572" y="15173"/>
                    <a:pt x="17555" y="15169"/>
                  </a:cubicBezTo>
                  <a:cubicBezTo>
                    <a:pt x="17540" y="15165"/>
                    <a:pt x="17526" y="15157"/>
                    <a:pt x="17522" y="15142"/>
                  </a:cubicBezTo>
                  <a:cubicBezTo>
                    <a:pt x="17512" y="15108"/>
                    <a:pt x="17484" y="15082"/>
                    <a:pt x="17483" y="15045"/>
                  </a:cubicBezTo>
                  <a:cubicBezTo>
                    <a:pt x="17483" y="15029"/>
                    <a:pt x="17479" y="15015"/>
                    <a:pt x="17460" y="15013"/>
                  </a:cubicBezTo>
                  <a:cubicBezTo>
                    <a:pt x="17440" y="15011"/>
                    <a:pt x="17430" y="15025"/>
                    <a:pt x="17427" y="15043"/>
                  </a:cubicBezTo>
                  <a:cubicBezTo>
                    <a:pt x="17424" y="15057"/>
                    <a:pt x="17423" y="15072"/>
                    <a:pt x="17420" y="15086"/>
                  </a:cubicBezTo>
                  <a:cubicBezTo>
                    <a:pt x="17411" y="15125"/>
                    <a:pt x="17389" y="15153"/>
                    <a:pt x="17350" y="15166"/>
                  </a:cubicBezTo>
                  <a:cubicBezTo>
                    <a:pt x="17322" y="15176"/>
                    <a:pt x="17312" y="15168"/>
                    <a:pt x="17314" y="15137"/>
                  </a:cubicBezTo>
                  <a:cubicBezTo>
                    <a:pt x="17315" y="15127"/>
                    <a:pt x="17317" y="15116"/>
                    <a:pt x="17320" y="15107"/>
                  </a:cubicBezTo>
                  <a:cubicBezTo>
                    <a:pt x="17332" y="15078"/>
                    <a:pt x="17335" y="15051"/>
                    <a:pt x="17323" y="15022"/>
                  </a:cubicBezTo>
                  <a:cubicBezTo>
                    <a:pt x="17315" y="15002"/>
                    <a:pt x="17319" y="14981"/>
                    <a:pt x="17326" y="14961"/>
                  </a:cubicBezTo>
                  <a:cubicBezTo>
                    <a:pt x="17335" y="14933"/>
                    <a:pt x="17349" y="14915"/>
                    <a:pt x="17384" y="14916"/>
                  </a:cubicBezTo>
                  <a:cubicBezTo>
                    <a:pt x="17428" y="14916"/>
                    <a:pt x="17432" y="14909"/>
                    <a:pt x="17430" y="14863"/>
                  </a:cubicBezTo>
                  <a:cubicBezTo>
                    <a:pt x="17430" y="14841"/>
                    <a:pt x="17427" y="14817"/>
                    <a:pt x="17429" y="14795"/>
                  </a:cubicBezTo>
                  <a:cubicBezTo>
                    <a:pt x="17433" y="14757"/>
                    <a:pt x="17437" y="14724"/>
                    <a:pt x="17385" y="14717"/>
                  </a:cubicBezTo>
                  <a:cubicBezTo>
                    <a:pt x="17366" y="14714"/>
                    <a:pt x="17351" y="14692"/>
                    <a:pt x="17358" y="14674"/>
                  </a:cubicBezTo>
                  <a:cubicBezTo>
                    <a:pt x="17375" y="14631"/>
                    <a:pt x="17366" y="14577"/>
                    <a:pt x="17410" y="14544"/>
                  </a:cubicBezTo>
                  <a:cubicBezTo>
                    <a:pt x="17428" y="14531"/>
                    <a:pt x="17430" y="14509"/>
                    <a:pt x="17429" y="14487"/>
                  </a:cubicBezTo>
                  <a:cubicBezTo>
                    <a:pt x="17426" y="14447"/>
                    <a:pt x="17410" y="14410"/>
                    <a:pt x="17402" y="14372"/>
                  </a:cubicBezTo>
                  <a:cubicBezTo>
                    <a:pt x="17400" y="14363"/>
                    <a:pt x="17394" y="14356"/>
                    <a:pt x="17385" y="14355"/>
                  </a:cubicBezTo>
                  <a:cubicBezTo>
                    <a:pt x="17374" y="14354"/>
                    <a:pt x="17365" y="14361"/>
                    <a:pt x="17361" y="14371"/>
                  </a:cubicBezTo>
                  <a:cubicBezTo>
                    <a:pt x="17358" y="14383"/>
                    <a:pt x="17358" y="14396"/>
                    <a:pt x="17356" y="14408"/>
                  </a:cubicBezTo>
                  <a:cubicBezTo>
                    <a:pt x="17347" y="14463"/>
                    <a:pt x="17325" y="14480"/>
                    <a:pt x="17270" y="14469"/>
                  </a:cubicBezTo>
                  <a:cubicBezTo>
                    <a:pt x="17234" y="14461"/>
                    <a:pt x="17202" y="14446"/>
                    <a:pt x="17162" y="14459"/>
                  </a:cubicBezTo>
                  <a:cubicBezTo>
                    <a:pt x="17130" y="14469"/>
                    <a:pt x="17102" y="14420"/>
                    <a:pt x="17111" y="14377"/>
                  </a:cubicBezTo>
                  <a:cubicBezTo>
                    <a:pt x="17116" y="14353"/>
                    <a:pt x="17130" y="14337"/>
                    <a:pt x="17152" y="14325"/>
                  </a:cubicBezTo>
                  <a:cubicBezTo>
                    <a:pt x="17161" y="14320"/>
                    <a:pt x="17168" y="14312"/>
                    <a:pt x="17162" y="14300"/>
                  </a:cubicBezTo>
                  <a:cubicBezTo>
                    <a:pt x="17157" y="14289"/>
                    <a:pt x="17147" y="14286"/>
                    <a:pt x="17136" y="14286"/>
                  </a:cubicBezTo>
                  <a:cubicBezTo>
                    <a:pt x="17123" y="14286"/>
                    <a:pt x="17113" y="14293"/>
                    <a:pt x="17101" y="14298"/>
                  </a:cubicBezTo>
                  <a:cubicBezTo>
                    <a:pt x="17034" y="14328"/>
                    <a:pt x="17022" y="14321"/>
                    <a:pt x="17000" y="14250"/>
                  </a:cubicBezTo>
                  <a:cubicBezTo>
                    <a:pt x="16992" y="14227"/>
                    <a:pt x="16988" y="14204"/>
                    <a:pt x="17000" y="14183"/>
                  </a:cubicBezTo>
                  <a:cubicBezTo>
                    <a:pt x="17029" y="14132"/>
                    <a:pt x="17039" y="14074"/>
                    <a:pt x="17053" y="14018"/>
                  </a:cubicBezTo>
                  <a:cubicBezTo>
                    <a:pt x="17063" y="13979"/>
                    <a:pt x="17083" y="13970"/>
                    <a:pt x="17116" y="13991"/>
                  </a:cubicBezTo>
                  <a:cubicBezTo>
                    <a:pt x="17139" y="14005"/>
                    <a:pt x="17158" y="14024"/>
                    <a:pt x="17179" y="14042"/>
                  </a:cubicBezTo>
                  <a:cubicBezTo>
                    <a:pt x="17188" y="14050"/>
                    <a:pt x="17196" y="14061"/>
                    <a:pt x="17205" y="14068"/>
                  </a:cubicBezTo>
                  <a:cubicBezTo>
                    <a:pt x="17214" y="14075"/>
                    <a:pt x="17226" y="14076"/>
                    <a:pt x="17235" y="14071"/>
                  </a:cubicBezTo>
                  <a:cubicBezTo>
                    <a:pt x="17245" y="14065"/>
                    <a:pt x="17246" y="14053"/>
                    <a:pt x="17242" y="14043"/>
                  </a:cubicBezTo>
                  <a:cubicBezTo>
                    <a:pt x="17235" y="14024"/>
                    <a:pt x="17230" y="14004"/>
                    <a:pt x="17229" y="13983"/>
                  </a:cubicBezTo>
                  <a:cubicBezTo>
                    <a:pt x="17228" y="13964"/>
                    <a:pt x="17222" y="13943"/>
                    <a:pt x="17242" y="13932"/>
                  </a:cubicBezTo>
                  <a:cubicBezTo>
                    <a:pt x="17262" y="13922"/>
                    <a:pt x="17287" y="13925"/>
                    <a:pt x="17301" y="13940"/>
                  </a:cubicBezTo>
                  <a:cubicBezTo>
                    <a:pt x="17327" y="13969"/>
                    <a:pt x="17356" y="13986"/>
                    <a:pt x="17395" y="13992"/>
                  </a:cubicBezTo>
                  <a:cubicBezTo>
                    <a:pt x="17422" y="13996"/>
                    <a:pt x="17434" y="14031"/>
                    <a:pt x="17424" y="14059"/>
                  </a:cubicBezTo>
                  <a:cubicBezTo>
                    <a:pt x="17420" y="14070"/>
                    <a:pt x="17412" y="14080"/>
                    <a:pt x="17405" y="14091"/>
                  </a:cubicBezTo>
                  <a:cubicBezTo>
                    <a:pt x="17397" y="14103"/>
                    <a:pt x="17387" y="14116"/>
                    <a:pt x="17399" y="14130"/>
                  </a:cubicBezTo>
                  <a:cubicBezTo>
                    <a:pt x="17413" y="14144"/>
                    <a:pt x="17426" y="14133"/>
                    <a:pt x="17438" y="14125"/>
                  </a:cubicBezTo>
                  <a:cubicBezTo>
                    <a:pt x="17457" y="14112"/>
                    <a:pt x="17475" y="14107"/>
                    <a:pt x="17494" y="14125"/>
                  </a:cubicBezTo>
                  <a:cubicBezTo>
                    <a:pt x="17511" y="14140"/>
                    <a:pt x="17509" y="14159"/>
                    <a:pt x="17501" y="14176"/>
                  </a:cubicBezTo>
                  <a:cubicBezTo>
                    <a:pt x="17488" y="14207"/>
                    <a:pt x="17489" y="14237"/>
                    <a:pt x="17497" y="14268"/>
                  </a:cubicBezTo>
                  <a:cubicBezTo>
                    <a:pt x="17506" y="14301"/>
                    <a:pt x="17504" y="14330"/>
                    <a:pt x="17483" y="14362"/>
                  </a:cubicBezTo>
                  <a:cubicBezTo>
                    <a:pt x="17450" y="14412"/>
                    <a:pt x="17480" y="14485"/>
                    <a:pt x="17538" y="14502"/>
                  </a:cubicBezTo>
                  <a:cubicBezTo>
                    <a:pt x="17570" y="14512"/>
                    <a:pt x="17594" y="14529"/>
                    <a:pt x="17610" y="14557"/>
                  </a:cubicBezTo>
                  <a:cubicBezTo>
                    <a:pt x="17654" y="14629"/>
                    <a:pt x="17722" y="14661"/>
                    <a:pt x="17801" y="14672"/>
                  </a:cubicBezTo>
                  <a:cubicBezTo>
                    <a:pt x="17906" y="14687"/>
                    <a:pt x="17906" y="14685"/>
                    <a:pt x="17917" y="14581"/>
                  </a:cubicBezTo>
                  <a:cubicBezTo>
                    <a:pt x="17918" y="14566"/>
                    <a:pt x="17920" y="14551"/>
                    <a:pt x="17906" y="14541"/>
                  </a:cubicBezTo>
                  <a:cubicBezTo>
                    <a:pt x="17890" y="14531"/>
                    <a:pt x="17879" y="14544"/>
                    <a:pt x="17868" y="14554"/>
                  </a:cubicBezTo>
                  <a:cubicBezTo>
                    <a:pt x="17863" y="14558"/>
                    <a:pt x="17860" y="14563"/>
                    <a:pt x="17856" y="14568"/>
                  </a:cubicBezTo>
                  <a:cubicBezTo>
                    <a:pt x="17844" y="14582"/>
                    <a:pt x="17829" y="14591"/>
                    <a:pt x="17813" y="14576"/>
                  </a:cubicBezTo>
                  <a:cubicBezTo>
                    <a:pt x="17800" y="14565"/>
                    <a:pt x="17789" y="14548"/>
                    <a:pt x="17801" y="14533"/>
                  </a:cubicBezTo>
                  <a:cubicBezTo>
                    <a:pt x="17823" y="14504"/>
                    <a:pt x="17823" y="14473"/>
                    <a:pt x="17826" y="14440"/>
                  </a:cubicBezTo>
                  <a:cubicBezTo>
                    <a:pt x="17828" y="14409"/>
                    <a:pt x="17859" y="14394"/>
                    <a:pt x="17886" y="14383"/>
                  </a:cubicBezTo>
                  <a:cubicBezTo>
                    <a:pt x="17905" y="14375"/>
                    <a:pt x="17927" y="14374"/>
                    <a:pt x="17947" y="14370"/>
                  </a:cubicBezTo>
                  <a:cubicBezTo>
                    <a:pt x="17988" y="14364"/>
                    <a:pt x="18022" y="14344"/>
                    <a:pt x="18049" y="14314"/>
                  </a:cubicBezTo>
                  <a:cubicBezTo>
                    <a:pt x="18072" y="14289"/>
                    <a:pt x="18065" y="14268"/>
                    <a:pt x="18032" y="14260"/>
                  </a:cubicBezTo>
                  <a:cubicBezTo>
                    <a:pt x="18014" y="14256"/>
                    <a:pt x="17994" y="14258"/>
                    <a:pt x="17976" y="14257"/>
                  </a:cubicBezTo>
                  <a:cubicBezTo>
                    <a:pt x="17919" y="14254"/>
                    <a:pt x="17902" y="14237"/>
                    <a:pt x="17883" y="14185"/>
                  </a:cubicBezTo>
                  <a:cubicBezTo>
                    <a:pt x="17867" y="14139"/>
                    <a:pt x="17843" y="14095"/>
                    <a:pt x="17822" y="14051"/>
                  </a:cubicBezTo>
                  <a:cubicBezTo>
                    <a:pt x="17816" y="14041"/>
                    <a:pt x="17804" y="14033"/>
                    <a:pt x="17804" y="14019"/>
                  </a:cubicBezTo>
                  <a:cubicBezTo>
                    <a:pt x="17803" y="13988"/>
                    <a:pt x="17784" y="13972"/>
                    <a:pt x="17760" y="13956"/>
                  </a:cubicBezTo>
                  <a:cubicBezTo>
                    <a:pt x="17725" y="13932"/>
                    <a:pt x="17724" y="13907"/>
                    <a:pt x="17753" y="13873"/>
                  </a:cubicBezTo>
                  <a:cubicBezTo>
                    <a:pt x="17770" y="13855"/>
                    <a:pt x="17794" y="13840"/>
                    <a:pt x="17789" y="13811"/>
                  </a:cubicBezTo>
                  <a:cubicBezTo>
                    <a:pt x="17783" y="13774"/>
                    <a:pt x="17759" y="13743"/>
                    <a:pt x="17735" y="13715"/>
                  </a:cubicBezTo>
                  <a:cubicBezTo>
                    <a:pt x="17725" y="13702"/>
                    <a:pt x="17712" y="13713"/>
                    <a:pt x="17706" y="13726"/>
                  </a:cubicBezTo>
                  <a:cubicBezTo>
                    <a:pt x="17697" y="13744"/>
                    <a:pt x="17690" y="13764"/>
                    <a:pt x="17682" y="13783"/>
                  </a:cubicBezTo>
                  <a:cubicBezTo>
                    <a:pt x="17678" y="13791"/>
                    <a:pt x="17671" y="13796"/>
                    <a:pt x="17662" y="13793"/>
                  </a:cubicBezTo>
                  <a:cubicBezTo>
                    <a:pt x="17649" y="13790"/>
                    <a:pt x="17644" y="13778"/>
                    <a:pt x="17649" y="13769"/>
                  </a:cubicBezTo>
                  <a:cubicBezTo>
                    <a:pt x="17667" y="13736"/>
                    <a:pt x="17663" y="13706"/>
                    <a:pt x="17645" y="13674"/>
                  </a:cubicBezTo>
                  <a:cubicBezTo>
                    <a:pt x="17632" y="13652"/>
                    <a:pt x="17646" y="13634"/>
                    <a:pt x="17660" y="13618"/>
                  </a:cubicBezTo>
                  <a:cubicBezTo>
                    <a:pt x="17680" y="13596"/>
                    <a:pt x="17686" y="13572"/>
                    <a:pt x="17673" y="13544"/>
                  </a:cubicBezTo>
                  <a:cubicBezTo>
                    <a:pt x="17665" y="13528"/>
                    <a:pt x="17665" y="13511"/>
                    <a:pt x="17671" y="13495"/>
                  </a:cubicBezTo>
                  <a:cubicBezTo>
                    <a:pt x="17683" y="13465"/>
                    <a:pt x="17669" y="13451"/>
                    <a:pt x="17643" y="13436"/>
                  </a:cubicBezTo>
                  <a:cubicBezTo>
                    <a:pt x="17562" y="13391"/>
                    <a:pt x="17494" y="13331"/>
                    <a:pt x="17446" y="13250"/>
                  </a:cubicBezTo>
                  <a:cubicBezTo>
                    <a:pt x="17440" y="13240"/>
                    <a:pt x="17433" y="13229"/>
                    <a:pt x="17429" y="13217"/>
                  </a:cubicBezTo>
                  <a:cubicBezTo>
                    <a:pt x="17419" y="13182"/>
                    <a:pt x="17435" y="13161"/>
                    <a:pt x="17472" y="13160"/>
                  </a:cubicBezTo>
                  <a:cubicBezTo>
                    <a:pt x="17537" y="13160"/>
                    <a:pt x="17601" y="13165"/>
                    <a:pt x="17664" y="13179"/>
                  </a:cubicBezTo>
                  <a:cubicBezTo>
                    <a:pt x="17678" y="13182"/>
                    <a:pt x="17692" y="13185"/>
                    <a:pt x="17707" y="13186"/>
                  </a:cubicBezTo>
                  <a:cubicBezTo>
                    <a:pt x="17715" y="13187"/>
                    <a:pt x="17725" y="13182"/>
                    <a:pt x="17724" y="13173"/>
                  </a:cubicBezTo>
                  <a:cubicBezTo>
                    <a:pt x="17721" y="13150"/>
                    <a:pt x="17715" y="13129"/>
                    <a:pt x="17715" y="13106"/>
                  </a:cubicBezTo>
                  <a:cubicBezTo>
                    <a:pt x="17714" y="13075"/>
                    <a:pt x="17687" y="13076"/>
                    <a:pt x="17665" y="13070"/>
                  </a:cubicBezTo>
                  <a:cubicBezTo>
                    <a:pt x="17632" y="13060"/>
                    <a:pt x="17621" y="13043"/>
                    <a:pt x="17631" y="13022"/>
                  </a:cubicBezTo>
                  <a:cubicBezTo>
                    <a:pt x="17641" y="13002"/>
                    <a:pt x="17665" y="12996"/>
                    <a:pt x="17691" y="13009"/>
                  </a:cubicBezTo>
                  <a:cubicBezTo>
                    <a:pt x="17700" y="13013"/>
                    <a:pt x="17708" y="13021"/>
                    <a:pt x="17716" y="13027"/>
                  </a:cubicBezTo>
                  <a:cubicBezTo>
                    <a:pt x="17729" y="13036"/>
                    <a:pt x="17739" y="13030"/>
                    <a:pt x="17748" y="13019"/>
                  </a:cubicBezTo>
                  <a:cubicBezTo>
                    <a:pt x="17792" y="12963"/>
                    <a:pt x="17852" y="12950"/>
                    <a:pt x="17906" y="12987"/>
                  </a:cubicBezTo>
                  <a:cubicBezTo>
                    <a:pt x="17925" y="13000"/>
                    <a:pt x="17937" y="12999"/>
                    <a:pt x="17955" y="12984"/>
                  </a:cubicBezTo>
                  <a:cubicBezTo>
                    <a:pt x="18013" y="12934"/>
                    <a:pt x="18052" y="12936"/>
                    <a:pt x="18101" y="12993"/>
                  </a:cubicBezTo>
                  <a:cubicBezTo>
                    <a:pt x="18121" y="13017"/>
                    <a:pt x="18141" y="13020"/>
                    <a:pt x="18167" y="13010"/>
                  </a:cubicBezTo>
                  <a:cubicBezTo>
                    <a:pt x="18190" y="13001"/>
                    <a:pt x="18214" y="12992"/>
                    <a:pt x="18237" y="12983"/>
                  </a:cubicBezTo>
                  <a:cubicBezTo>
                    <a:pt x="18271" y="12968"/>
                    <a:pt x="18301" y="12974"/>
                    <a:pt x="18331" y="12994"/>
                  </a:cubicBezTo>
                  <a:cubicBezTo>
                    <a:pt x="18369" y="13020"/>
                    <a:pt x="18408" y="13044"/>
                    <a:pt x="18446" y="13069"/>
                  </a:cubicBezTo>
                  <a:cubicBezTo>
                    <a:pt x="18496" y="13103"/>
                    <a:pt x="18521" y="13153"/>
                    <a:pt x="18530" y="13210"/>
                  </a:cubicBezTo>
                  <a:cubicBezTo>
                    <a:pt x="18537" y="13266"/>
                    <a:pt x="18569" y="13310"/>
                    <a:pt x="18592" y="13358"/>
                  </a:cubicBezTo>
                  <a:cubicBezTo>
                    <a:pt x="18605" y="13385"/>
                    <a:pt x="18634" y="13398"/>
                    <a:pt x="18660" y="13410"/>
                  </a:cubicBezTo>
                  <a:cubicBezTo>
                    <a:pt x="18727" y="13441"/>
                    <a:pt x="18786" y="13480"/>
                    <a:pt x="18838" y="13534"/>
                  </a:cubicBezTo>
                  <a:cubicBezTo>
                    <a:pt x="18877" y="13574"/>
                    <a:pt x="18920" y="13609"/>
                    <a:pt x="18944" y="13662"/>
                  </a:cubicBezTo>
                  <a:cubicBezTo>
                    <a:pt x="18964" y="13705"/>
                    <a:pt x="18961" y="13720"/>
                    <a:pt x="18917" y="13738"/>
                  </a:cubicBezTo>
                  <a:cubicBezTo>
                    <a:pt x="18870" y="13757"/>
                    <a:pt x="18819" y="13763"/>
                    <a:pt x="18769" y="13756"/>
                  </a:cubicBezTo>
                  <a:cubicBezTo>
                    <a:pt x="18735" y="13751"/>
                    <a:pt x="18712" y="13763"/>
                    <a:pt x="18695" y="13790"/>
                  </a:cubicBezTo>
                  <a:cubicBezTo>
                    <a:pt x="18679" y="13817"/>
                    <a:pt x="18692" y="13842"/>
                    <a:pt x="18707" y="13866"/>
                  </a:cubicBezTo>
                  <a:cubicBezTo>
                    <a:pt x="18723" y="13890"/>
                    <a:pt x="18745" y="13896"/>
                    <a:pt x="18772" y="13887"/>
                  </a:cubicBezTo>
                  <a:cubicBezTo>
                    <a:pt x="18789" y="13881"/>
                    <a:pt x="18810" y="13868"/>
                    <a:pt x="18824" y="13888"/>
                  </a:cubicBezTo>
                  <a:cubicBezTo>
                    <a:pt x="18839" y="13910"/>
                    <a:pt x="18833" y="13936"/>
                    <a:pt x="18819" y="13958"/>
                  </a:cubicBezTo>
                  <a:cubicBezTo>
                    <a:pt x="18815" y="13965"/>
                    <a:pt x="18809" y="13972"/>
                    <a:pt x="18802" y="13976"/>
                  </a:cubicBezTo>
                  <a:cubicBezTo>
                    <a:pt x="18781" y="13990"/>
                    <a:pt x="18771" y="14009"/>
                    <a:pt x="18767" y="14033"/>
                  </a:cubicBezTo>
                  <a:cubicBezTo>
                    <a:pt x="18763" y="14056"/>
                    <a:pt x="18748" y="14071"/>
                    <a:pt x="18725" y="14071"/>
                  </a:cubicBezTo>
                  <a:cubicBezTo>
                    <a:pt x="18690" y="14071"/>
                    <a:pt x="18665" y="14088"/>
                    <a:pt x="18645" y="14113"/>
                  </a:cubicBezTo>
                  <a:cubicBezTo>
                    <a:pt x="18622" y="14140"/>
                    <a:pt x="18595" y="14154"/>
                    <a:pt x="18559" y="14156"/>
                  </a:cubicBezTo>
                  <a:cubicBezTo>
                    <a:pt x="18521" y="14159"/>
                    <a:pt x="18515" y="14170"/>
                    <a:pt x="18515" y="14209"/>
                  </a:cubicBezTo>
                  <a:cubicBezTo>
                    <a:pt x="18515" y="14278"/>
                    <a:pt x="18559" y="14311"/>
                    <a:pt x="18625" y="14291"/>
                  </a:cubicBezTo>
                  <a:cubicBezTo>
                    <a:pt x="18664" y="14280"/>
                    <a:pt x="18673" y="14280"/>
                    <a:pt x="18690" y="14316"/>
                  </a:cubicBezTo>
                  <a:cubicBezTo>
                    <a:pt x="18714" y="14366"/>
                    <a:pt x="18748" y="14390"/>
                    <a:pt x="18804" y="14382"/>
                  </a:cubicBezTo>
                  <a:cubicBezTo>
                    <a:pt x="18808" y="14381"/>
                    <a:pt x="18812" y="14382"/>
                    <a:pt x="18816" y="14383"/>
                  </a:cubicBezTo>
                  <a:cubicBezTo>
                    <a:pt x="18875" y="14395"/>
                    <a:pt x="18892" y="14443"/>
                    <a:pt x="18853" y="14488"/>
                  </a:cubicBezTo>
                  <a:cubicBezTo>
                    <a:pt x="18839" y="14504"/>
                    <a:pt x="18820" y="14512"/>
                    <a:pt x="18801" y="14521"/>
                  </a:cubicBezTo>
                  <a:cubicBezTo>
                    <a:pt x="18761" y="14541"/>
                    <a:pt x="18754" y="14562"/>
                    <a:pt x="18781" y="14598"/>
                  </a:cubicBezTo>
                  <a:cubicBezTo>
                    <a:pt x="18843" y="14680"/>
                    <a:pt x="18885" y="14773"/>
                    <a:pt x="18928" y="14865"/>
                  </a:cubicBezTo>
                  <a:cubicBezTo>
                    <a:pt x="18950" y="14911"/>
                    <a:pt x="18962" y="14958"/>
                    <a:pt x="18958" y="15010"/>
                  </a:cubicBezTo>
                  <a:cubicBezTo>
                    <a:pt x="18958" y="15016"/>
                    <a:pt x="18957" y="15022"/>
                    <a:pt x="18957" y="15028"/>
                  </a:cubicBezTo>
                  <a:cubicBezTo>
                    <a:pt x="18961" y="15069"/>
                    <a:pt x="18980" y="15079"/>
                    <a:pt x="19015" y="15058"/>
                  </a:cubicBezTo>
                  <a:cubicBezTo>
                    <a:pt x="19028" y="15049"/>
                    <a:pt x="19039" y="15033"/>
                    <a:pt x="19058" y="15045"/>
                  </a:cubicBezTo>
                  <a:cubicBezTo>
                    <a:pt x="19079" y="15058"/>
                    <a:pt x="19080" y="15079"/>
                    <a:pt x="19077" y="15100"/>
                  </a:cubicBezTo>
                  <a:cubicBezTo>
                    <a:pt x="19076" y="15110"/>
                    <a:pt x="19072" y="15120"/>
                    <a:pt x="19069" y="15130"/>
                  </a:cubicBezTo>
                  <a:cubicBezTo>
                    <a:pt x="19061" y="15167"/>
                    <a:pt x="19067" y="15200"/>
                    <a:pt x="19092" y="15229"/>
                  </a:cubicBezTo>
                  <a:cubicBezTo>
                    <a:pt x="19129" y="15274"/>
                    <a:pt x="19159" y="15324"/>
                    <a:pt x="19190" y="15374"/>
                  </a:cubicBezTo>
                  <a:cubicBezTo>
                    <a:pt x="19199" y="15388"/>
                    <a:pt x="19201" y="15399"/>
                    <a:pt x="19186" y="15411"/>
                  </a:cubicBezTo>
                  <a:cubicBezTo>
                    <a:pt x="19165" y="15428"/>
                    <a:pt x="19145" y="15446"/>
                    <a:pt x="19124" y="15463"/>
                  </a:cubicBezTo>
                  <a:cubicBezTo>
                    <a:pt x="19099" y="15485"/>
                    <a:pt x="19099" y="15508"/>
                    <a:pt x="19129" y="15520"/>
                  </a:cubicBezTo>
                  <a:cubicBezTo>
                    <a:pt x="19169" y="15535"/>
                    <a:pt x="19204" y="15557"/>
                    <a:pt x="19240" y="15576"/>
                  </a:cubicBezTo>
                  <a:cubicBezTo>
                    <a:pt x="19322" y="15619"/>
                    <a:pt x="19361" y="15700"/>
                    <a:pt x="19333" y="15789"/>
                  </a:cubicBezTo>
                  <a:cubicBezTo>
                    <a:pt x="19321" y="15830"/>
                    <a:pt x="19322" y="15866"/>
                    <a:pt x="19340" y="15903"/>
                  </a:cubicBezTo>
                  <a:cubicBezTo>
                    <a:pt x="19349" y="15921"/>
                    <a:pt x="19360" y="15934"/>
                    <a:pt x="19378" y="15943"/>
                  </a:cubicBezTo>
                  <a:cubicBezTo>
                    <a:pt x="19396" y="15929"/>
                    <a:pt x="19385" y="15911"/>
                    <a:pt x="19389" y="15896"/>
                  </a:cubicBezTo>
                  <a:cubicBezTo>
                    <a:pt x="19392" y="15888"/>
                    <a:pt x="19394" y="15880"/>
                    <a:pt x="19404" y="15877"/>
                  </a:cubicBezTo>
                  <a:cubicBezTo>
                    <a:pt x="19413" y="15875"/>
                    <a:pt x="19421" y="15879"/>
                    <a:pt x="19424" y="15887"/>
                  </a:cubicBezTo>
                  <a:cubicBezTo>
                    <a:pt x="19450" y="15945"/>
                    <a:pt x="19491" y="15999"/>
                    <a:pt x="19482" y="16068"/>
                  </a:cubicBezTo>
                  <a:cubicBezTo>
                    <a:pt x="19481" y="16075"/>
                    <a:pt x="19481" y="16081"/>
                    <a:pt x="19482" y="16087"/>
                  </a:cubicBezTo>
                  <a:cubicBezTo>
                    <a:pt x="19483" y="16097"/>
                    <a:pt x="19485" y="16108"/>
                    <a:pt x="19496" y="16113"/>
                  </a:cubicBezTo>
                  <a:cubicBezTo>
                    <a:pt x="19510" y="16119"/>
                    <a:pt x="19522" y="16112"/>
                    <a:pt x="19529" y="16102"/>
                  </a:cubicBezTo>
                  <a:cubicBezTo>
                    <a:pt x="19543" y="16082"/>
                    <a:pt x="19556" y="16061"/>
                    <a:pt x="19569" y="16039"/>
                  </a:cubicBezTo>
                  <a:cubicBezTo>
                    <a:pt x="19573" y="16032"/>
                    <a:pt x="19578" y="16026"/>
                    <a:pt x="19588" y="16024"/>
                  </a:cubicBezTo>
                  <a:cubicBezTo>
                    <a:pt x="19620" y="16045"/>
                    <a:pt x="19579" y="16097"/>
                    <a:pt x="19623" y="16114"/>
                  </a:cubicBezTo>
                  <a:cubicBezTo>
                    <a:pt x="19640" y="16100"/>
                    <a:pt x="19623" y="16077"/>
                    <a:pt x="19642" y="16060"/>
                  </a:cubicBezTo>
                  <a:cubicBezTo>
                    <a:pt x="19675" y="16069"/>
                    <a:pt x="19689" y="16102"/>
                    <a:pt x="19710" y="16125"/>
                  </a:cubicBezTo>
                  <a:cubicBezTo>
                    <a:pt x="19758" y="16177"/>
                    <a:pt x="19806" y="16229"/>
                    <a:pt x="19842" y="16290"/>
                  </a:cubicBezTo>
                  <a:cubicBezTo>
                    <a:pt x="19850" y="16303"/>
                    <a:pt x="19855" y="16316"/>
                    <a:pt x="19859" y="16330"/>
                  </a:cubicBezTo>
                  <a:cubicBezTo>
                    <a:pt x="19875" y="16393"/>
                    <a:pt x="19862" y="16411"/>
                    <a:pt x="19797" y="16410"/>
                  </a:cubicBezTo>
                  <a:cubicBezTo>
                    <a:pt x="19670" y="16410"/>
                    <a:pt x="19542" y="16415"/>
                    <a:pt x="19416" y="16405"/>
                  </a:cubicBezTo>
                  <a:cubicBezTo>
                    <a:pt x="19306" y="16396"/>
                    <a:pt x="19196" y="16403"/>
                    <a:pt x="19086" y="16389"/>
                  </a:cubicBezTo>
                  <a:cubicBezTo>
                    <a:pt x="19019" y="16380"/>
                    <a:pt x="18949" y="16393"/>
                    <a:pt x="18881" y="16386"/>
                  </a:cubicBezTo>
                  <a:cubicBezTo>
                    <a:pt x="18789" y="16377"/>
                    <a:pt x="18698" y="16375"/>
                    <a:pt x="18607" y="16379"/>
                  </a:cubicBezTo>
                  <a:cubicBezTo>
                    <a:pt x="18517" y="16383"/>
                    <a:pt x="18429" y="16365"/>
                    <a:pt x="18341" y="16368"/>
                  </a:cubicBezTo>
                  <a:cubicBezTo>
                    <a:pt x="18267" y="16371"/>
                    <a:pt x="18192" y="16366"/>
                    <a:pt x="18118" y="16369"/>
                  </a:cubicBezTo>
                  <a:cubicBezTo>
                    <a:pt x="18052" y="16372"/>
                    <a:pt x="17985" y="16369"/>
                    <a:pt x="17920" y="16360"/>
                  </a:cubicBezTo>
                  <a:cubicBezTo>
                    <a:pt x="17870" y="16353"/>
                    <a:pt x="17823" y="16382"/>
                    <a:pt x="17773" y="16363"/>
                  </a:cubicBezTo>
                  <a:cubicBezTo>
                    <a:pt x="17743" y="16353"/>
                    <a:pt x="17712" y="16350"/>
                    <a:pt x="17681" y="16357"/>
                  </a:cubicBezTo>
                  <a:cubicBezTo>
                    <a:pt x="17639" y="16368"/>
                    <a:pt x="17601" y="16343"/>
                    <a:pt x="17559" y="16344"/>
                  </a:cubicBezTo>
                  <a:cubicBezTo>
                    <a:pt x="17497" y="16347"/>
                    <a:pt x="17435" y="16345"/>
                    <a:pt x="17372" y="16345"/>
                  </a:cubicBezTo>
                  <a:cubicBezTo>
                    <a:pt x="17352" y="16345"/>
                    <a:pt x="17331" y="16349"/>
                    <a:pt x="17313" y="16334"/>
                  </a:cubicBezTo>
                  <a:cubicBezTo>
                    <a:pt x="17304" y="16328"/>
                    <a:pt x="17294" y="16326"/>
                    <a:pt x="17283" y="16330"/>
                  </a:cubicBezTo>
                  <a:cubicBezTo>
                    <a:pt x="17221" y="16350"/>
                    <a:pt x="17160" y="16340"/>
                    <a:pt x="17096" y="16331"/>
                  </a:cubicBezTo>
                  <a:cubicBezTo>
                    <a:pt x="17033" y="16322"/>
                    <a:pt x="16969" y="16319"/>
                    <a:pt x="16905" y="16317"/>
                  </a:cubicBezTo>
                  <a:cubicBezTo>
                    <a:pt x="16809" y="16314"/>
                    <a:pt x="16714" y="16310"/>
                    <a:pt x="16618" y="16305"/>
                  </a:cubicBezTo>
                  <a:cubicBezTo>
                    <a:pt x="16530" y="16300"/>
                    <a:pt x="16441" y="16296"/>
                    <a:pt x="16353" y="16286"/>
                  </a:cubicBezTo>
                  <a:cubicBezTo>
                    <a:pt x="16275" y="16278"/>
                    <a:pt x="16197" y="16288"/>
                    <a:pt x="16119" y="16280"/>
                  </a:cubicBezTo>
                  <a:cubicBezTo>
                    <a:pt x="16061" y="16274"/>
                    <a:pt x="16000" y="16267"/>
                    <a:pt x="15942" y="16275"/>
                  </a:cubicBezTo>
                  <a:cubicBezTo>
                    <a:pt x="15882" y="16282"/>
                    <a:pt x="15822" y="16277"/>
                    <a:pt x="15763" y="16280"/>
                  </a:cubicBezTo>
                  <a:cubicBezTo>
                    <a:pt x="15645" y="16285"/>
                    <a:pt x="15528" y="16282"/>
                    <a:pt x="15410" y="16285"/>
                  </a:cubicBezTo>
                  <a:cubicBezTo>
                    <a:pt x="15236" y="16289"/>
                    <a:pt x="15062" y="16296"/>
                    <a:pt x="14889" y="16301"/>
                  </a:cubicBezTo>
                  <a:cubicBezTo>
                    <a:pt x="14817" y="16303"/>
                    <a:pt x="14744" y="16305"/>
                    <a:pt x="14673" y="16304"/>
                  </a:cubicBezTo>
                  <a:cubicBezTo>
                    <a:pt x="14569" y="16302"/>
                    <a:pt x="14466" y="16301"/>
                    <a:pt x="14362" y="16302"/>
                  </a:cubicBezTo>
                  <a:cubicBezTo>
                    <a:pt x="14190" y="16305"/>
                    <a:pt x="14018" y="16294"/>
                    <a:pt x="13846" y="16300"/>
                  </a:cubicBezTo>
                  <a:cubicBezTo>
                    <a:pt x="13753" y="16304"/>
                    <a:pt x="13660" y="16305"/>
                    <a:pt x="13566" y="16306"/>
                  </a:cubicBezTo>
                  <a:cubicBezTo>
                    <a:pt x="13493" y="16307"/>
                    <a:pt x="13418" y="16311"/>
                    <a:pt x="13345" y="16319"/>
                  </a:cubicBezTo>
                  <a:cubicBezTo>
                    <a:pt x="13270" y="16327"/>
                    <a:pt x="13195" y="16323"/>
                    <a:pt x="13120" y="16324"/>
                  </a:cubicBezTo>
                  <a:cubicBezTo>
                    <a:pt x="13058" y="16326"/>
                    <a:pt x="12995" y="16319"/>
                    <a:pt x="12934" y="16334"/>
                  </a:cubicBezTo>
                  <a:cubicBezTo>
                    <a:pt x="12920" y="16337"/>
                    <a:pt x="12905" y="16334"/>
                    <a:pt x="12891" y="16331"/>
                  </a:cubicBezTo>
                  <a:cubicBezTo>
                    <a:pt x="12871" y="16328"/>
                    <a:pt x="12853" y="16326"/>
                    <a:pt x="12837" y="16338"/>
                  </a:cubicBezTo>
                  <a:cubicBezTo>
                    <a:pt x="12826" y="16346"/>
                    <a:pt x="12812" y="16354"/>
                    <a:pt x="12802" y="16346"/>
                  </a:cubicBezTo>
                  <a:cubicBezTo>
                    <a:pt x="12773" y="16323"/>
                    <a:pt x="12737" y="16338"/>
                    <a:pt x="12708" y="16326"/>
                  </a:cubicBezTo>
                  <a:cubicBezTo>
                    <a:pt x="12667" y="16311"/>
                    <a:pt x="12628" y="16311"/>
                    <a:pt x="12586" y="16317"/>
                  </a:cubicBezTo>
                  <a:cubicBezTo>
                    <a:pt x="12501" y="16329"/>
                    <a:pt x="12416" y="16314"/>
                    <a:pt x="12331" y="16321"/>
                  </a:cubicBezTo>
                  <a:cubicBezTo>
                    <a:pt x="12201" y="16331"/>
                    <a:pt x="12071" y="16323"/>
                    <a:pt x="11940" y="16324"/>
                  </a:cubicBezTo>
                  <a:cubicBezTo>
                    <a:pt x="11818" y="16325"/>
                    <a:pt x="11696" y="16329"/>
                    <a:pt x="11574" y="16331"/>
                  </a:cubicBezTo>
                  <a:cubicBezTo>
                    <a:pt x="11448" y="16333"/>
                    <a:pt x="11322" y="16331"/>
                    <a:pt x="11195" y="16330"/>
                  </a:cubicBezTo>
                  <a:cubicBezTo>
                    <a:pt x="11092" y="16329"/>
                    <a:pt x="10987" y="16329"/>
                    <a:pt x="10884" y="16333"/>
                  </a:cubicBezTo>
                  <a:cubicBezTo>
                    <a:pt x="10857" y="16334"/>
                    <a:pt x="10829" y="16335"/>
                    <a:pt x="10803" y="16332"/>
                  </a:cubicBezTo>
                  <a:cubicBezTo>
                    <a:pt x="10729" y="16326"/>
                    <a:pt x="10659" y="16350"/>
                    <a:pt x="10586" y="16353"/>
                  </a:cubicBezTo>
                  <a:cubicBezTo>
                    <a:pt x="10464" y="16358"/>
                    <a:pt x="10341" y="16358"/>
                    <a:pt x="10218" y="16361"/>
                  </a:cubicBezTo>
                  <a:cubicBezTo>
                    <a:pt x="10052" y="16365"/>
                    <a:pt x="9885" y="16355"/>
                    <a:pt x="9719" y="16357"/>
                  </a:cubicBezTo>
                  <a:cubicBezTo>
                    <a:pt x="9605" y="16358"/>
                    <a:pt x="9490" y="16354"/>
                    <a:pt x="9377" y="16360"/>
                  </a:cubicBezTo>
                  <a:cubicBezTo>
                    <a:pt x="9278" y="16365"/>
                    <a:pt x="9179" y="16354"/>
                    <a:pt x="9081" y="16357"/>
                  </a:cubicBezTo>
                  <a:cubicBezTo>
                    <a:pt x="8983" y="16359"/>
                    <a:pt x="8885" y="16364"/>
                    <a:pt x="8787" y="16360"/>
                  </a:cubicBezTo>
                  <a:cubicBezTo>
                    <a:pt x="8715" y="16358"/>
                    <a:pt x="8642" y="16354"/>
                    <a:pt x="8571" y="16361"/>
                  </a:cubicBezTo>
                  <a:cubicBezTo>
                    <a:pt x="8495" y="16368"/>
                    <a:pt x="8418" y="16368"/>
                    <a:pt x="8342" y="16374"/>
                  </a:cubicBezTo>
                  <a:cubicBezTo>
                    <a:pt x="8278" y="16379"/>
                    <a:pt x="8214" y="16384"/>
                    <a:pt x="8150" y="16385"/>
                  </a:cubicBezTo>
                  <a:cubicBezTo>
                    <a:pt x="8098" y="16386"/>
                    <a:pt x="8045" y="16391"/>
                    <a:pt x="7995" y="16390"/>
                  </a:cubicBezTo>
                  <a:cubicBezTo>
                    <a:pt x="7936" y="16388"/>
                    <a:pt x="7876" y="16396"/>
                    <a:pt x="7817" y="16391"/>
                  </a:cubicBezTo>
                  <a:cubicBezTo>
                    <a:pt x="7764" y="16387"/>
                    <a:pt x="7710" y="16390"/>
                    <a:pt x="7657" y="16391"/>
                  </a:cubicBezTo>
                  <a:cubicBezTo>
                    <a:pt x="7585" y="16392"/>
                    <a:pt x="7512" y="16407"/>
                    <a:pt x="7440" y="16392"/>
                  </a:cubicBezTo>
                  <a:cubicBezTo>
                    <a:pt x="7428" y="16389"/>
                    <a:pt x="7415" y="16388"/>
                    <a:pt x="7403" y="16390"/>
                  </a:cubicBezTo>
                  <a:cubicBezTo>
                    <a:pt x="7329" y="16401"/>
                    <a:pt x="7255" y="16383"/>
                    <a:pt x="7182" y="16386"/>
                  </a:cubicBezTo>
                  <a:cubicBezTo>
                    <a:pt x="7133" y="16388"/>
                    <a:pt x="7082" y="16372"/>
                    <a:pt x="7035" y="16398"/>
                  </a:cubicBezTo>
                  <a:cubicBezTo>
                    <a:pt x="7028" y="16402"/>
                    <a:pt x="7018" y="16404"/>
                    <a:pt x="7011" y="16402"/>
                  </a:cubicBezTo>
                  <a:cubicBezTo>
                    <a:pt x="6935" y="16384"/>
                    <a:pt x="6858" y="16406"/>
                    <a:pt x="6783" y="16401"/>
                  </a:cubicBezTo>
                  <a:cubicBezTo>
                    <a:pt x="6714" y="16395"/>
                    <a:pt x="6646" y="16402"/>
                    <a:pt x="6578" y="16402"/>
                  </a:cubicBezTo>
                  <a:cubicBezTo>
                    <a:pt x="6518" y="16403"/>
                    <a:pt x="6458" y="16405"/>
                    <a:pt x="6399" y="16407"/>
                  </a:cubicBezTo>
                  <a:cubicBezTo>
                    <a:pt x="6105" y="16414"/>
                    <a:pt x="5812" y="16415"/>
                    <a:pt x="5519" y="16426"/>
                  </a:cubicBezTo>
                  <a:cubicBezTo>
                    <a:pt x="5371" y="16432"/>
                    <a:pt x="5223" y="16437"/>
                    <a:pt x="5076" y="16436"/>
                  </a:cubicBezTo>
                  <a:cubicBezTo>
                    <a:pt x="4939" y="16435"/>
                    <a:pt x="4802" y="16441"/>
                    <a:pt x="4664" y="16436"/>
                  </a:cubicBezTo>
                  <a:cubicBezTo>
                    <a:pt x="4527" y="16431"/>
                    <a:pt x="4389" y="16435"/>
                    <a:pt x="4252" y="16442"/>
                  </a:cubicBezTo>
                  <a:cubicBezTo>
                    <a:pt x="4111" y="16448"/>
                    <a:pt x="3970" y="16442"/>
                    <a:pt x="3829" y="16438"/>
                  </a:cubicBezTo>
                  <a:cubicBezTo>
                    <a:pt x="3754" y="16436"/>
                    <a:pt x="3679" y="16436"/>
                    <a:pt x="3605" y="16443"/>
                  </a:cubicBezTo>
                  <a:cubicBezTo>
                    <a:pt x="3575" y="16445"/>
                    <a:pt x="3547" y="16443"/>
                    <a:pt x="3518" y="16442"/>
                  </a:cubicBezTo>
                  <a:cubicBezTo>
                    <a:pt x="3445" y="16438"/>
                    <a:pt x="3372" y="16430"/>
                    <a:pt x="3300" y="16439"/>
                  </a:cubicBezTo>
                  <a:cubicBezTo>
                    <a:pt x="3220" y="16450"/>
                    <a:pt x="3141" y="16432"/>
                    <a:pt x="3061" y="16438"/>
                  </a:cubicBezTo>
                  <a:cubicBezTo>
                    <a:pt x="2980" y="16443"/>
                    <a:pt x="2899" y="16448"/>
                    <a:pt x="2818" y="16443"/>
                  </a:cubicBezTo>
                  <a:cubicBezTo>
                    <a:pt x="2689" y="16433"/>
                    <a:pt x="2560" y="16442"/>
                    <a:pt x="2432" y="16448"/>
                  </a:cubicBezTo>
                  <a:cubicBezTo>
                    <a:pt x="2385" y="16450"/>
                    <a:pt x="2337" y="16445"/>
                    <a:pt x="2291" y="16456"/>
                  </a:cubicBezTo>
                  <a:cubicBezTo>
                    <a:pt x="2270" y="16460"/>
                    <a:pt x="2249" y="16455"/>
                    <a:pt x="2229" y="16451"/>
                  </a:cubicBezTo>
                  <a:cubicBezTo>
                    <a:pt x="2192" y="16444"/>
                    <a:pt x="2154" y="16443"/>
                    <a:pt x="2117" y="16449"/>
                  </a:cubicBezTo>
                  <a:cubicBezTo>
                    <a:pt x="2064" y="16457"/>
                    <a:pt x="2010" y="16458"/>
                    <a:pt x="1957" y="16454"/>
                  </a:cubicBezTo>
                  <a:cubicBezTo>
                    <a:pt x="1911" y="16450"/>
                    <a:pt x="1865" y="16447"/>
                    <a:pt x="1820" y="16454"/>
                  </a:cubicBezTo>
                  <a:cubicBezTo>
                    <a:pt x="1814" y="16455"/>
                    <a:pt x="1807" y="16456"/>
                    <a:pt x="1801" y="16456"/>
                  </a:cubicBezTo>
                  <a:cubicBezTo>
                    <a:pt x="1683" y="16450"/>
                    <a:pt x="1565" y="16460"/>
                    <a:pt x="1446" y="16451"/>
                  </a:cubicBezTo>
                  <a:cubicBezTo>
                    <a:pt x="1376" y="16446"/>
                    <a:pt x="1306" y="16444"/>
                    <a:pt x="1235" y="16446"/>
                  </a:cubicBezTo>
                  <a:cubicBezTo>
                    <a:pt x="1152" y="16449"/>
                    <a:pt x="1069" y="16437"/>
                    <a:pt x="987" y="16438"/>
                  </a:cubicBezTo>
                  <a:cubicBezTo>
                    <a:pt x="758" y="16441"/>
                    <a:pt x="529" y="16424"/>
                    <a:pt x="300" y="16437"/>
                  </a:cubicBezTo>
                  <a:cubicBezTo>
                    <a:pt x="261" y="16439"/>
                    <a:pt x="222" y="16432"/>
                    <a:pt x="184" y="16450"/>
                  </a:cubicBezTo>
                  <a:cubicBezTo>
                    <a:pt x="163" y="16460"/>
                    <a:pt x="142" y="16454"/>
                    <a:pt x="128" y="16435"/>
                  </a:cubicBezTo>
                  <a:cubicBezTo>
                    <a:pt x="116" y="16420"/>
                    <a:pt x="125" y="16405"/>
                    <a:pt x="132" y="16389"/>
                  </a:cubicBezTo>
                  <a:cubicBezTo>
                    <a:pt x="188" y="16260"/>
                    <a:pt x="155" y="16164"/>
                    <a:pt x="28" y="16097"/>
                  </a:cubicBezTo>
                  <a:cubicBezTo>
                    <a:pt x="11" y="16088"/>
                    <a:pt x="0" y="16078"/>
                    <a:pt x="7" y="16059"/>
                  </a:cubicBezTo>
                  <a:cubicBezTo>
                    <a:pt x="15" y="16038"/>
                    <a:pt x="33" y="16044"/>
                    <a:pt x="50" y="16047"/>
                  </a:cubicBezTo>
                  <a:cubicBezTo>
                    <a:pt x="117" y="16061"/>
                    <a:pt x="169" y="16102"/>
                    <a:pt x="223" y="16141"/>
                  </a:cubicBezTo>
                  <a:cubicBezTo>
                    <a:pt x="232" y="16147"/>
                    <a:pt x="239" y="16154"/>
                    <a:pt x="248" y="16159"/>
                  </a:cubicBezTo>
                  <a:cubicBezTo>
                    <a:pt x="255" y="16163"/>
                    <a:pt x="264" y="16161"/>
                    <a:pt x="271" y="16156"/>
                  </a:cubicBezTo>
                  <a:cubicBezTo>
                    <a:pt x="279" y="16149"/>
                    <a:pt x="278" y="16141"/>
                    <a:pt x="274" y="16134"/>
                  </a:cubicBezTo>
                  <a:cubicBezTo>
                    <a:pt x="266" y="16117"/>
                    <a:pt x="255" y="16101"/>
                    <a:pt x="247" y="16084"/>
                  </a:cubicBezTo>
                  <a:cubicBezTo>
                    <a:pt x="235" y="16058"/>
                    <a:pt x="247" y="16039"/>
                    <a:pt x="275" y="16037"/>
                  </a:cubicBezTo>
                  <a:cubicBezTo>
                    <a:pt x="293" y="16035"/>
                    <a:pt x="308" y="16041"/>
                    <a:pt x="321" y="16053"/>
                  </a:cubicBezTo>
                  <a:cubicBezTo>
                    <a:pt x="337" y="16069"/>
                    <a:pt x="355" y="16084"/>
                    <a:pt x="367" y="16103"/>
                  </a:cubicBezTo>
                  <a:cubicBezTo>
                    <a:pt x="382" y="16126"/>
                    <a:pt x="395" y="16140"/>
                    <a:pt x="422" y="16123"/>
                  </a:cubicBezTo>
                  <a:cubicBezTo>
                    <a:pt x="441" y="16111"/>
                    <a:pt x="453" y="16123"/>
                    <a:pt x="464" y="16137"/>
                  </a:cubicBezTo>
                  <a:cubicBezTo>
                    <a:pt x="475" y="16152"/>
                    <a:pt x="485" y="16168"/>
                    <a:pt x="497" y="16182"/>
                  </a:cubicBezTo>
                  <a:cubicBezTo>
                    <a:pt x="503" y="16191"/>
                    <a:pt x="513" y="16197"/>
                    <a:pt x="524" y="16193"/>
                  </a:cubicBezTo>
                  <a:cubicBezTo>
                    <a:pt x="535" y="16188"/>
                    <a:pt x="535" y="16176"/>
                    <a:pt x="532" y="16165"/>
                  </a:cubicBezTo>
                  <a:cubicBezTo>
                    <a:pt x="520" y="16111"/>
                    <a:pt x="494" y="16065"/>
                    <a:pt x="450" y="16029"/>
                  </a:cubicBezTo>
                  <a:cubicBezTo>
                    <a:pt x="409" y="15996"/>
                    <a:pt x="362" y="15974"/>
                    <a:pt x="311" y="15962"/>
                  </a:cubicBezTo>
                  <a:cubicBezTo>
                    <a:pt x="275" y="15953"/>
                    <a:pt x="247" y="15932"/>
                    <a:pt x="223" y="15906"/>
                  </a:cubicBezTo>
                  <a:cubicBezTo>
                    <a:pt x="208" y="15889"/>
                    <a:pt x="213" y="15871"/>
                    <a:pt x="235" y="15871"/>
                  </a:cubicBezTo>
                  <a:cubicBezTo>
                    <a:pt x="288" y="15871"/>
                    <a:pt x="343" y="15854"/>
                    <a:pt x="389" y="15899"/>
                  </a:cubicBezTo>
                  <a:cubicBezTo>
                    <a:pt x="403" y="15912"/>
                    <a:pt x="429" y="15934"/>
                    <a:pt x="449" y="15918"/>
                  </a:cubicBezTo>
                  <a:cubicBezTo>
                    <a:pt x="473" y="15899"/>
                    <a:pt x="443" y="15878"/>
                    <a:pt x="438" y="15858"/>
                  </a:cubicBezTo>
                  <a:cubicBezTo>
                    <a:pt x="425" y="15813"/>
                    <a:pt x="396" y="15785"/>
                    <a:pt x="354" y="15764"/>
                  </a:cubicBezTo>
                  <a:cubicBezTo>
                    <a:pt x="260" y="15717"/>
                    <a:pt x="226" y="15651"/>
                    <a:pt x="238" y="15560"/>
                  </a:cubicBezTo>
                  <a:cubicBezTo>
                    <a:pt x="262" y="15558"/>
                    <a:pt x="267" y="15581"/>
                    <a:pt x="280" y="15592"/>
                  </a:cubicBezTo>
                  <a:cubicBezTo>
                    <a:pt x="295" y="15606"/>
                    <a:pt x="308" y="15623"/>
                    <a:pt x="323" y="15638"/>
                  </a:cubicBezTo>
                  <a:cubicBezTo>
                    <a:pt x="332" y="15647"/>
                    <a:pt x="345" y="15652"/>
                    <a:pt x="357" y="15647"/>
                  </a:cubicBezTo>
                  <a:cubicBezTo>
                    <a:pt x="375" y="15640"/>
                    <a:pt x="373" y="15622"/>
                    <a:pt x="368" y="15609"/>
                  </a:cubicBezTo>
                  <a:cubicBezTo>
                    <a:pt x="348" y="15560"/>
                    <a:pt x="343" y="15511"/>
                    <a:pt x="359" y="15458"/>
                  </a:cubicBezTo>
                  <a:cubicBezTo>
                    <a:pt x="369" y="15422"/>
                    <a:pt x="345" y="15409"/>
                    <a:pt x="310" y="15425"/>
                  </a:cubicBezTo>
                  <a:cubicBezTo>
                    <a:pt x="254" y="15451"/>
                    <a:pt x="234" y="15447"/>
                    <a:pt x="214" y="15388"/>
                  </a:cubicBezTo>
                  <a:cubicBezTo>
                    <a:pt x="202" y="15353"/>
                    <a:pt x="187" y="15327"/>
                    <a:pt x="152" y="15309"/>
                  </a:cubicBezTo>
                  <a:cubicBezTo>
                    <a:pt x="128" y="15297"/>
                    <a:pt x="128" y="15273"/>
                    <a:pt x="144" y="15251"/>
                  </a:cubicBezTo>
                  <a:cubicBezTo>
                    <a:pt x="179" y="15201"/>
                    <a:pt x="221" y="15168"/>
                    <a:pt x="286" y="15187"/>
                  </a:cubicBezTo>
                  <a:cubicBezTo>
                    <a:pt x="300" y="15191"/>
                    <a:pt x="316" y="15197"/>
                    <a:pt x="327" y="15183"/>
                  </a:cubicBezTo>
                  <a:cubicBezTo>
                    <a:pt x="339" y="15168"/>
                    <a:pt x="333" y="15152"/>
                    <a:pt x="324" y="15137"/>
                  </a:cubicBezTo>
                  <a:cubicBezTo>
                    <a:pt x="316" y="15125"/>
                    <a:pt x="306" y="15114"/>
                    <a:pt x="299" y="15101"/>
                  </a:cubicBezTo>
                  <a:cubicBezTo>
                    <a:pt x="264" y="15042"/>
                    <a:pt x="294" y="14983"/>
                    <a:pt x="361" y="14983"/>
                  </a:cubicBezTo>
                  <a:cubicBezTo>
                    <a:pt x="402" y="14984"/>
                    <a:pt x="440" y="14980"/>
                    <a:pt x="476" y="14963"/>
                  </a:cubicBezTo>
                  <a:cubicBezTo>
                    <a:pt x="491" y="14956"/>
                    <a:pt x="504" y="14958"/>
                    <a:pt x="518" y="14966"/>
                  </a:cubicBezTo>
                  <a:cubicBezTo>
                    <a:pt x="584" y="15006"/>
                    <a:pt x="602" y="15085"/>
                    <a:pt x="558" y="15148"/>
                  </a:cubicBezTo>
                  <a:cubicBezTo>
                    <a:pt x="551" y="15158"/>
                    <a:pt x="539" y="15166"/>
                    <a:pt x="548" y="15179"/>
                  </a:cubicBezTo>
                  <a:cubicBezTo>
                    <a:pt x="557" y="15192"/>
                    <a:pt x="570" y="15186"/>
                    <a:pt x="582" y="15182"/>
                  </a:cubicBezTo>
                  <a:cubicBezTo>
                    <a:pt x="606" y="15174"/>
                    <a:pt x="629" y="15167"/>
                    <a:pt x="654" y="15161"/>
                  </a:cubicBezTo>
                  <a:cubicBezTo>
                    <a:pt x="677" y="15155"/>
                    <a:pt x="699" y="15156"/>
                    <a:pt x="715" y="15178"/>
                  </a:cubicBezTo>
                  <a:cubicBezTo>
                    <a:pt x="733" y="15202"/>
                    <a:pt x="752" y="15227"/>
                    <a:pt x="735" y="15257"/>
                  </a:cubicBezTo>
                  <a:cubicBezTo>
                    <a:pt x="711" y="15298"/>
                    <a:pt x="711" y="15340"/>
                    <a:pt x="716" y="15384"/>
                  </a:cubicBezTo>
                  <a:cubicBezTo>
                    <a:pt x="724" y="15447"/>
                    <a:pt x="691" y="15476"/>
                    <a:pt x="627" y="15465"/>
                  </a:cubicBezTo>
                  <a:cubicBezTo>
                    <a:pt x="619" y="15464"/>
                    <a:pt x="611" y="15461"/>
                    <a:pt x="603" y="15459"/>
                  </a:cubicBezTo>
                  <a:cubicBezTo>
                    <a:pt x="582" y="15456"/>
                    <a:pt x="572" y="15466"/>
                    <a:pt x="570" y="15486"/>
                  </a:cubicBezTo>
                  <a:cubicBezTo>
                    <a:pt x="570" y="15494"/>
                    <a:pt x="570" y="15503"/>
                    <a:pt x="571" y="15511"/>
                  </a:cubicBezTo>
                  <a:cubicBezTo>
                    <a:pt x="574" y="15540"/>
                    <a:pt x="550" y="15554"/>
                    <a:pt x="538" y="15576"/>
                  </a:cubicBezTo>
                  <a:cubicBezTo>
                    <a:pt x="521" y="15604"/>
                    <a:pt x="497" y="15588"/>
                    <a:pt x="477" y="15585"/>
                  </a:cubicBezTo>
                  <a:cubicBezTo>
                    <a:pt x="431" y="15580"/>
                    <a:pt x="423" y="15588"/>
                    <a:pt x="435" y="15632"/>
                  </a:cubicBezTo>
                  <a:cubicBezTo>
                    <a:pt x="451" y="15686"/>
                    <a:pt x="470" y="15739"/>
                    <a:pt x="480" y="15794"/>
                  </a:cubicBezTo>
                  <a:cubicBezTo>
                    <a:pt x="482" y="15805"/>
                    <a:pt x="489" y="15815"/>
                    <a:pt x="500" y="15815"/>
                  </a:cubicBezTo>
                  <a:cubicBezTo>
                    <a:pt x="511" y="15816"/>
                    <a:pt x="517" y="15805"/>
                    <a:pt x="521" y="15795"/>
                  </a:cubicBezTo>
                  <a:cubicBezTo>
                    <a:pt x="529" y="15775"/>
                    <a:pt x="530" y="15755"/>
                    <a:pt x="529" y="15734"/>
                  </a:cubicBezTo>
                  <a:cubicBezTo>
                    <a:pt x="529" y="15703"/>
                    <a:pt x="529" y="15671"/>
                    <a:pt x="529" y="15640"/>
                  </a:cubicBezTo>
                  <a:cubicBezTo>
                    <a:pt x="529" y="15630"/>
                    <a:pt x="530" y="15618"/>
                    <a:pt x="541" y="15613"/>
                  </a:cubicBezTo>
                  <a:cubicBezTo>
                    <a:pt x="554" y="15608"/>
                    <a:pt x="565" y="15615"/>
                    <a:pt x="574" y="15625"/>
                  </a:cubicBezTo>
                  <a:cubicBezTo>
                    <a:pt x="604" y="15661"/>
                    <a:pt x="628" y="15698"/>
                    <a:pt x="628" y="15748"/>
                  </a:cubicBezTo>
                  <a:cubicBezTo>
                    <a:pt x="627" y="15783"/>
                    <a:pt x="628" y="15821"/>
                    <a:pt x="613" y="15852"/>
                  </a:cubicBezTo>
                  <a:cubicBezTo>
                    <a:pt x="589" y="15904"/>
                    <a:pt x="597" y="15953"/>
                    <a:pt x="608" y="16005"/>
                  </a:cubicBezTo>
                  <a:cubicBezTo>
                    <a:pt x="612" y="16023"/>
                    <a:pt x="616" y="16041"/>
                    <a:pt x="622" y="16059"/>
                  </a:cubicBezTo>
                  <a:cubicBezTo>
                    <a:pt x="630" y="16087"/>
                    <a:pt x="645" y="16092"/>
                    <a:pt x="666" y="16072"/>
                  </a:cubicBezTo>
                  <a:cubicBezTo>
                    <a:pt x="693" y="16047"/>
                    <a:pt x="710" y="16017"/>
                    <a:pt x="714" y="15980"/>
                  </a:cubicBezTo>
                  <a:cubicBezTo>
                    <a:pt x="719" y="15942"/>
                    <a:pt x="718" y="15905"/>
                    <a:pt x="706" y="15869"/>
                  </a:cubicBezTo>
                  <a:cubicBezTo>
                    <a:pt x="703" y="15858"/>
                    <a:pt x="703" y="15846"/>
                    <a:pt x="713" y="15841"/>
                  </a:cubicBezTo>
                  <a:cubicBezTo>
                    <a:pt x="722" y="15836"/>
                    <a:pt x="733" y="15840"/>
                    <a:pt x="742" y="15846"/>
                  </a:cubicBezTo>
                  <a:cubicBezTo>
                    <a:pt x="757" y="15856"/>
                    <a:pt x="763" y="15872"/>
                    <a:pt x="768" y="15888"/>
                  </a:cubicBezTo>
                  <a:cubicBezTo>
                    <a:pt x="795" y="15977"/>
                    <a:pt x="811" y="16066"/>
                    <a:pt x="755" y="16152"/>
                  </a:cubicBezTo>
                  <a:cubicBezTo>
                    <a:pt x="750" y="16159"/>
                    <a:pt x="749" y="16168"/>
                    <a:pt x="754" y="16175"/>
                  </a:cubicBezTo>
                  <a:cubicBezTo>
                    <a:pt x="761" y="16185"/>
                    <a:pt x="772" y="16186"/>
                    <a:pt x="782" y="16182"/>
                  </a:cubicBezTo>
                  <a:cubicBezTo>
                    <a:pt x="790" y="16180"/>
                    <a:pt x="798" y="16176"/>
                    <a:pt x="803" y="16170"/>
                  </a:cubicBezTo>
                  <a:cubicBezTo>
                    <a:pt x="826" y="16146"/>
                    <a:pt x="850" y="16148"/>
                    <a:pt x="872" y="16169"/>
                  </a:cubicBezTo>
                  <a:cubicBezTo>
                    <a:pt x="900" y="16136"/>
                    <a:pt x="866" y="16108"/>
                    <a:pt x="870" y="16079"/>
                  </a:cubicBezTo>
                  <a:cubicBezTo>
                    <a:pt x="900" y="16074"/>
                    <a:pt x="909" y="16095"/>
                    <a:pt x="923" y="16109"/>
                  </a:cubicBezTo>
                  <a:cubicBezTo>
                    <a:pt x="934" y="16121"/>
                    <a:pt x="944" y="16135"/>
                    <a:pt x="956" y="16147"/>
                  </a:cubicBezTo>
                  <a:cubicBezTo>
                    <a:pt x="959" y="16150"/>
                    <a:pt x="968" y="16152"/>
                    <a:pt x="973" y="16151"/>
                  </a:cubicBezTo>
                  <a:cubicBezTo>
                    <a:pt x="982" y="16148"/>
                    <a:pt x="982" y="16139"/>
                    <a:pt x="981" y="16131"/>
                  </a:cubicBezTo>
                  <a:cubicBezTo>
                    <a:pt x="978" y="16104"/>
                    <a:pt x="963" y="16085"/>
                    <a:pt x="943" y="16068"/>
                  </a:cubicBezTo>
                  <a:cubicBezTo>
                    <a:pt x="905" y="16035"/>
                    <a:pt x="869" y="16001"/>
                    <a:pt x="848" y="15954"/>
                  </a:cubicBezTo>
                  <a:cubicBezTo>
                    <a:pt x="841" y="15941"/>
                    <a:pt x="826" y="15925"/>
                    <a:pt x="841" y="15909"/>
                  </a:cubicBezTo>
                  <a:cubicBezTo>
                    <a:pt x="853" y="15896"/>
                    <a:pt x="868" y="15905"/>
                    <a:pt x="881" y="15910"/>
                  </a:cubicBezTo>
                  <a:cubicBezTo>
                    <a:pt x="922" y="15925"/>
                    <a:pt x="968" y="15922"/>
                    <a:pt x="1006" y="15947"/>
                  </a:cubicBezTo>
                  <a:cubicBezTo>
                    <a:pt x="1023" y="15958"/>
                    <a:pt x="1040" y="15945"/>
                    <a:pt x="1037" y="15924"/>
                  </a:cubicBezTo>
                  <a:cubicBezTo>
                    <a:pt x="1032" y="15886"/>
                    <a:pt x="1011" y="15855"/>
                    <a:pt x="991" y="15823"/>
                  </a:cubicBezTo>
                  <a:cubicBezTo>
                    <a:pt x="969" y="15788"/>
                    <a:pt x="939" y="15777"/>
                    <a:pt x="901" y="15778"/>
                  </a:cubicBezTo>
                  <a:cubicBezTo>
                    <a:pt x="889" y="15778"/>
                    <a:pt x="876" y="15774"/>
                    <a:pt x="864" y="15771"/>
                  </a:cubicBezTo>
                  <a:cubicBezTo>
                    <a:pt x="847" y="15765"/>
                    <a:pt x="822" y="15759"/>
                    <a:pt x="822" y="15739"/>
                  </a:cubicBezTo>
                  <a:cubicBezTo>
                    <a:pt x="823" y="15714"/>
                    <a:pt x="851" y="15723"/>
                    <a:pt x="867" y="15717"/>
                  </a:cubicBezTo>
                  <a:cubicBezTo>
                    <a:pt x="875" y="15715"/>
                    <a:pt x="884" y="15715"/>
                    <a:pt x="892" y="15712"/>
                  </a:cubicBezTo>
                  <a:cubicBezTo>
                    <a:pt x="914" y="15704"/>
                    <a:pt x="920" y="15688"/>
                    <a:pt x="906" y="15669"/>
                  </a:cubicBezTo>
                  <a:cubicBezTo>
                    <a:pt x="887" y="15644"/>
                    <a:pt x="860" y="15628"/>
                    <a:pt x="832" y="15613"/>
                  </a:cubicBezTo>
                  <a:cubicBezTo>
                    <a:pt x="772" y="15579"/>
                    <a:pt x="752" y="15517"/>
                    <a:pt x="780" y="15454"/>
                  </a:cubicBezTo>
                  <a:cubicBezTo>
                    <a:pt x="797" y="15416"/>
                    <a:pt x="823" y="15405"/>
                    <a:pt x="861" y="15425"/>
                  </a:cubicBezTo>
                  <a:cubicBezTo>
                    <a:pt x="937" y="15464"/>
                    <a:pt x="989" y="15522"/>
                    <a:pt x="997" y="15611"/>
                  </a:cubicBezTo>
                  <a:cubicBezTo>
                    <a:pt x="1000" y="15643"/>
                    <a:pt x="1005" y="15673"/>
                    <a:pt x="1017" y="15703"/>
                  </a:cubicBezTo>
                  <a:cubicBezTo>
                    <a:pt x="1023" y="15715"/>
                    <a:pt x="1030" y="15724"/>
                    <a:pt x="1045" y="15723"/>
                  </a:cubicBezTo>
                  <a:cubicBezTo>
                    <a:pt x="1060" y="15722"/>
                    <a:pt x="1066" y="15711"/>
                    <a:pt x="1067" y="15698"/>
                  </a:cubicBezTo>
                  <a:cubicBezTo>
                    <a:pt x="1069" y="15677"/>
                    <a:pt x="1069" y="15656"/>
                    <a:pt x="1070" y="15636"/>
                  </a:cubicBezTo>
                  <a:cubicBezTo>
                    <a:pt x="1070" y="15628"/>
                    <a:pt x="1069" y="15618"/>
                    <a:pt x="1079" y="15615"/>
                  </a:cubicBezTo>
                  <a:cubicBezTo>
                    <a:pt x="1090" y="15612"/>
                    <a:pt x="1101" y="15618"/>
                    <a:pt x="1104" y="15628"/>
                  </a:cubicBezTo>
                  <a:cubicBezTo>
                    <a:pt x="1117" y="15662"/>
                    <a:pt x="1123" y="15698"/>
                    <a:pt x="1119" y="15732"/>
                  </a:cubicBezTo>
                  <a:cubicBezTo>
                    <a:pt x="1112" y="15790"/>
                    <a:pt x="1123" y="15845"/>
                    <a:pt x="1133" y="15900"/>
                  </a:cubicBezTo>
                  <a:cubicBezTo>
                    <a:pt x="1138" y="15923"/>
                    <a:pt x="1139" y="15956"/>
                    <a:pt x="1171" y="15957"/>
                  </a:cubicBezTo>
                  <a:cubicBezTo>
                    <a:pt x="1210" y="15959"/>
                    <a:pt x="1200" y="15920"/>
                    <a:pt x="1211" y="15897"/>
                  </a:cubicBezTo>
                  <a:cubicBezTo>
                    <a:pt x="1220" y="15879"/>
                    <a:pt x="1205" y="15861"/>
                    <a:pt x="1212" y="15843"/>
                  </a:cubicBezTo>
                  <a:cubicBezTo>
                    <a:pt x="1250" y="15856"/>
                    <a:pt x="1297" y="15907"/>
                    <a:pt x="1310" y="15951"/>
                  </a:cubicBezTo>
                  <a:cubicBezTo>
                    <a:pt x="1315" y="15965"/>
                    <a:pt x="1317" y="15979"/>
                    <a:pt x="1321" y="15993"/>
                  </a:cubicBezTo>
                  <a:cubicBezTo>
                    <a:pt x="1324" y="16002"/>
                    <a:pt x="1331" y="16008"/>
                    <a:pt x="1339" y="16007"/>
                  </a:cubicBezTo>
                  <a:cubicBezTo>
                    <a:pt x="1348" y="16006"/>
                    <a:pt x="1354" y="16000"/>
                    <a:pt x="1357" y="15991"/>
                  </a:cubicBezTo>
                  <a:cubicBezTo>
                    <a:pt x="1386" y="15910"/>
                    <a:pt x="1346" y="15813"/>
                    <a:pt x="1268" y="15775"/>
                  </a:cubicBezTo>
                  <a:cubicBezTo>
                    <a:pt x="1253" y="15768"/>
                    <a:pt x="1238" y="15761"/>
                    <a:pt x="1223" y="15754"/>
                  </a:cubicBezTo>
                  <a:cubicBezTo>
                    <a:pt x="1213" y="15749"/>
                    <a:pt x="1204" y="15742"/>
                    <a:pt x="1208" y="15730"/>
                  </a:cubicBezTo>
                  <a:cubicBezTo>
                    <a:pt x="1211" y="15719"/>
                    <a:pt x="1222" y="15714"/>
                    <a:pt x="1232" y="15714"/>
                  </a:cubicBezTo>
                  <a:cubicBezTo>
                    <a:pt x="1306" y="15714"/>
                    <a:pt x="1380" y="15715"/>
                    <a:pt x="1421" y="15794"/>
                  </a:cubicBezTo>
                  <a:cubicBezTo>
                    <a:pt x="1431" y="15813"/>
                    <a:pt x="1443" y="15829"/>
                    <a:pt x="1470" y="15832"/>
                  </a:cubicBezTo>
                  <a:cubicBezTo>
                    <a:pt x="1477" y="15768"/>
                    <a:pt x="1485" y="15705"/>
                    <a:pt x="1492" y="15642"/>
                  </a:cubicBezTo>
                  <a:cubicBezTo>
                    <a:pt x="1495" y="15617"/>
                    <a:pt x="1487" y="15593"/>
                    <a:pt x="1475" y="15571"/>
                  </a:cubicBezTo>
                  <a:cubicBezTo>
                    <a:pt x="1464" y="15553"/>
                    <a:pt x="1452" y="15536"/>
                    <a:pt x="1441" y="15519"/>
                  </a:cubicBezTo>
                  <a:cubicBezTo>
                    <a:pt x="1430" y="15503"/>
                    <a:pt x="1429" y="15487"/>
                    <a:pt x="1446" y="15475"/>
                  </a:cubicBezTo>
                  <a:cubicBezTo>
                    <a:pt x="1460" y="15466"/>
                    <a:pt x="1475" y="15470"/>
                    <a:pt x="1485" y="15482"/>
                  </a:cubicBezTo>
                  <a:cubicBezTo>
                    <a:pt x="1529" y="15537"/>
                    <a:pt x="1572" y="15594"/>
                    <a:pt x="1590" y="15664"/>
                  </a:cubicBezTo>
                  <a:cubicBezTo>
                    <a:pt x="1593" y="15677"/>
                    <a:pt x="1590" y="15689"/>
                    <a:pt x="1585" y="15700"/>
                  </a:cubicBezTo>
                  <a:cubicBezTo>
                    <a:pt x="1580" y="15715"/>
                    <a:pt x="1578" y="15729"/>
                    <a:pt x="1585" y="15743"/>
                  </a:cubicBezTo>
                  <a:cubicBezTo>
                    <a:pt x="1589" y="15753"/>
                    <a:pt x="1597" y="15760"/>
                    <a:pt x="1608" y="15761"/>
                  </a:cubicBezTo>
                  <a:cubicBezTo>
                    <a:pt x="1621" y="15762"/>
                    <a:pt x="1627" y="15754"/>
                    <a:pt x="1630" y="15744"/>
                  </a:cubicBezTo>
                  <a:cubicBezTo>
                    <a:pt x="1639" y="15704"/>
                    <a:pt x="1662" y="15671"/>
                    <a:pt x="1682" y="15638"/>
                  </a:cubicBezTo>
                  <a:cubicBezTo>
                    <a:pt x="1700" y="15610"/>
                    <a:pt x="1717" y="15606"/>
                    <a:pt x="1745" y="15623"/>
                  </a:cubicBezTo>
                  <a:cubicBezTo>
                    <a:pt x="1793" y="15651"/>
                    <a:pt x="1826" y="15693"/>
                    <a:pt x="1844" y="15746"/>
                  </a:cubicBezTo>
                  <a:cubicBezTo>
                    <a:pt x="1849" y="15760"/>
                    <a:pt x="1852" y="15775"/>
                    <a:pt x="1859" y="15788"/>
                  </a:cubicBezTo>
                  <a:cubicBezTo>
                    <a:pt x="1866" y="15801"/>
                    <a:pt x="1878" y="15809"/>
                    <a:pt x="1895" y="15807"/>
                  </a:cubicBezTo>
                  <a:cubicBezTo>
                    <a:pt x="1914" y="15805"/>
                    <a:pt x="1915" y="15789"/>
                    <a:pt x="1916" y="15774"/>
                  </a:cubicBezTo>
                  <a:cubicBezTo>
                    <a:pt x="1919" y="15752"/>
                    <a:pt x="1920" y="15729"/>
                    <a:pt x="1923" y="15706"/>
                  </a:cubicBezTo>
                  <a:cubicBezTo>
                    <a:pt x="1924" y="15695"/>
                    <a:pt x="1928" y="15685"/>
                    <a:pt x="1941" y="15686"/>
                  </a:cubicBezTo>
                  <a:cubicBezTo>
                    <a:pt x="1953" y="15686"/>
                    <a:pt x="1961" y="15694"/>
                    <a:pt x="1964" y="15704"/>
                  </a:cubicBezTo>
                  <a:cubicBezTo>
                    <a:pt x="1966" y="15716"/>
                    <a:pt x="1967" y="15729"/>
                    <a:pt x="1967" y="15741"/>
                  </a:cubicBezTo>
                  <a:cubicBezTo>
                    <a:pt x="1968" y="15794"/>
                    <a:pt x="1972" y="15845"/>
                    <a:pt x="1991" y="15895"/>
                  </a:cubicBezTo>
                  <a:cubicBezTo>
                    <a:pt x="1998" y="15914"/>
                    <a:pt x="2006" y="15935"/>
                    <a:pt x="1999" y="15956"/>
                  </a:cubicBezTo>
                  <a:cubicBezTo>
                    <a:pt x="1983" y="16003"/>
                    <a:pt x="1999" y="16051"/>
                    <a:pt x="2000" y="16098"/>
                  </a:cubicBezTo>
                  <a:cubicBezTo>
                    <a:pt x="2000" y="16108"/>
                    <a:pt x="2004" y="16119"/>
                    <a:pt x="2010" y="16127"/>
                  </a:cubicBezTo>
                  <a:cubicBezTo>
                    <a:pt x="2019" y="16138"/>
                    <a:pt x="2034" y="16139"/>
                    <a:pt x="2039" y="16124"/>
                  </a:cubicBezTo>
                  <a:cubicBezTo>
                    <a:pt x="2047" y="16105"/>
                    <a:pt x="2049" y="16084"/>
                    <a:pt x="2052" y="16063"/>
                  </a:cubicBezTo>
                  <a:cubicBezTo>
                    <a:pt x="2058" y="16017"/>
                    <a:pt x="2078" y="15977"/>
                    <a:pt x="2099" y="15934"/>
                  </a:cubicBezTo>
                  <a:cubicBezTo>
                    <a:pt x="2125" y="15957"/>
                    <a:pt x="2120" y="15985"/>
                    <a:pt x="2112" y="16006"/>
                  </a:cubicBezTo>
                  <a:cubicBezTo>
                    <a:pt x="2094" y="16054"/>
                    <a:pt x="2114" y="16096"/>
                    <a:pt x="2125" y="16139"/>
                  </a:cubicBezTo>
                  <a:cubicBezTo>
                    <a:pt x="2130" y="16157"/>
                    <a:pt x="2141" y="16170"/>
                    <a:pt x="2162" y="16164"/>
                  </a:cubicBezTo>
                  <a:cubicBezTo>
                    <a:pt x="2183" y="16158"/>
                    <a:pt x="2197" y="16165"/>
                    <a:pt x="2209" y="16183"/>
                  </a:cubicBezTo>
                  <a:cubicBezTo>
                    <a:pt x="2218" y="16196"/>
                    <a:pt x="2229" y="16212"/>
                    <a:pt x="2248" y="16208"/>
                  </a:cubicBezTo>
                  <a:cubicBezTo>
                    <a:pt x="2272" y="16202"/>
                    <a:pt x="2278" y="16181"/>
                    <a:pt x="2282" y="16160"/>
                  </a:cubicBezTo>
                  <a:cubicBezTo>
                    <a:pt x="2285" y="16143"/>
                    <a:pt x="2279" y="16122"/>
                    <a:pt x="2300" y="16108"/>
                  </a:cubicBezTo>
                  <a:cubicBezTo>
                    <a:pt x="2324" y="16136"/>
                    <a:pt x="2324" y="16169"/>
                    <a:pt x="2327" y="16202"/>
                  </a:cubicBezTo>
                  <a:cubicBezTo>
                    <a:pt x="2329" y="16221"/>
                    <a:pt x="2325" y="16251"/>
                    <a:pt x="2353" y="16251"/>
                  </a:cubicBezTo>
                  <a:cubicBezTo>
                    <a:pt x="2379" y="16251"/>
                    <a:pt x="2380" y="16222"/>
                    <a:pt x="2381" y="16202"/>
                  </a:cubicBezTo>
                  <a:cubicBezTo>
                    <a:pt x="2382" y="16178"/>
                    <a:pt x="2378" y="16153"/>
                    <a:pt x="2376" y="16128"/>
                  </a:cubicBezTo>
                  <a:cubicBezTo>
                    <a:pt x="2375" y="16117"/>
                    <a:pt x="2371" y="16106"/>
                    <a:pt x="2384" y="16101"/>
                  </a:cubicBezTo>
                  <a:cubicBezTo>
                    <a:pt x="2396" y="16097"/>
                    <a:pt x="2402" y="16109"/>
                    <a:pt x="2409" y="16116"/>
                  </a:cubicBezTo>
                  <a:cubicBezTo>
                    <a:pt x="2420" y="16128"/>
                    <a:pt x="2429" y="16142"/>
                    <a:pt x="2432" y="16159"/>
                  </a:cubicBezTo>
                  <a:cubicBezTo>
                    <a:pt x="2435" y="16175"/>
                    <a:pt x="2445" y="16185"/>
                    <a:pt x="2462" y="16187"/>
                  </a:cubicBezTo>
                  <a:cubicBezTo>
                    <a:pt x="2477" y="16188"/>
                    <a:pt x="2485" y="16177"/>
                    <a:pt x="2488" y="16165"/>
                  </a:cubicBezTo>
                  <a:cubicBezTo>
                    <a:pt x="2497" y="16136"/>
                    <a:pt x="2534" y="16124"/>
                    <a:pt x="2538" y="16095"/>
                  </a:cubicBezTo>
                  <a:cubicBezTo>
                    <a:pt x="2542" y="16063"/>
                    <a:pt x="2503" y="16052"/>
                    <a:pt x="2491" y="16026"/>
                  </a:cubicBezTo>
                  <a:cubicBezTo>
                    <a:pt x="2467" y="15974"/>
                    <a:pt x="2492" y="15877"/>
                    <a:pt x="2543" y="15840"/>
                  </a:cubicBezTo>
                  <a:cubicBezTo>
                    <a:pt x="2557" y="15831"/>
                    <a:pt x="2572" y="15823"/>
                    <a:pt x="2587" y="15816"/>
                  </a:cubicBezTo>
                  <a:cubicBezTo>
                    <a:pt x="2598" y="15810"/>
                    <a:pt x="2610" y="15806"/>
                    <a:pt x="2617" y="15794"/>
                  </a:cubicBezTo>
                  <a:cubicBezTo>
                    <a:pt x="2667" y="15712"/>
                    <a:pt x="2723" y="15634"/>
                    <a:pt x="2747" y="15536"/>
                  </a:cubicBezTo>
                  <a:cubicBezTo>
                    <a:pt x="2771" y="15440"/>
                    <a:pt x="2801" y="15345"/>
                    <a:pt x="2831" y="15250"/>
                  </a:cubicBezTo>
                  <a:cubicBezTo>
                    <a:pt x="2857" y="15164"/>
                    <a:pt x="2906" y="15093"/>
                    <a:pt x="2961" y="15024"/>
                  </a:cubicBezTo>
                  <a:cubicBezTo>
                    <a:pt x="2970" y="15013"/>
                    <a:pt x="2980" y="15002"/>
                    <a:pt x="2988" y="14990"/>
                  </a:cubicBezTo>
                  <a:cubicBezTo>
                    <a:pt x="3015" y="14952"/>
                    <a:pt x="3011" y="14936"/>
                    <a:pt x="2968" y="14922"/>
                  </a:cubicBezTo>
                  <a:cubicBezTo>
                    <a:pt x="2924" y="14908"/>
                    <a:pt x="2891" y="14873"/>
                    <a:pt x="2847" y="14858"/>
                  </a:cubicBezTo>
                  <a:cubicBezTo>
                    <a:pt x="2839" y="14855"/>
                    <a:pt x="2832" y="14843"/>
                    <a:pt x="2830" y="14834"/>
                  </a:cubicBezTo>
                  <a:cubicBezTo>
                    <a:pt x="2820" y="14790"/>
                    <a:pt x="2786" y="14772"/>
                    <a:pt x="2753" y="14749"/>
                  </a:cubicBezTo>
                  <a:cubicBezTo>
                    <a:pt x="2683" y="14703"/>
                    <a:pt x="2627" y="14647"/>
                    <a:pt x="2619" y="14557"/>
                  </a:cubicBezTo>
                  <a:cubicBezTo>
                    <a:pt x="2617" y="14536"/>
                    <a:pt x="2609" y="14515"/>
                    <a:pt x="2593" y="14501"/>
                  </a:cubicBezTo>
                  <a:cubicBezTo>
                    <a:pt x="2557" y="14469"/>
                    <a:pt x="2546" y="14424"/>
                    <a:pt x="2528" y="14383"/>
                  </a:cubicBezTo>
                  <a:cubicBezTo>
                    <a:pt x="2521" y="14367"/>
                    <a:pt x="2520" y="14351"/>
                    <a:pt x="2523" y="14334"/>
                  </a:cubicBezTo>
                  <a:cubicBezTo>
                    <a:pt x="2533" y="14270"/>
                    <a:pt x="2557" y="14241"/>
                    <a:pt x="2625" y="14239"/>
                  </a:cubicBezTo>
                  <a:cubicBezTo>
                    <a:pt x="2699" y="14236"/>
                    <a:pt x="2749" y="14202"/>
                    <a:pt x="2799" y="14154"/>
                  </a:cubicBezTo>
                  <a:cubicBezTo>
                    <a:pt x="2848" y="14106"/>
                    <a:pt x="2894" y="14055"/>
                    <a:pt x="2951" y="14015"/>
                  </a:cubicBezTo>
                  <a:cubicBezTo>
                    <a:pt x="2958" y="14011"/>
                    <a:pt x="2964" y="14005"/>
                    <a:pt x="2968" y="13998"/>
                  </a:cubicBezTo>
                  <a:cubicBezTo>
                    <a:pt x="2972" y="13988"/>
                    <a:pt x="2973" y="13977"/>
                    <a:pt x="2964" y="13969"/>
                  </a:cubicBezTo>
                  <a:cubicBezTo>
                    <a:pt x="2957" y="13962"/>
                    <a:pt x="2949" y="13965"/>
                    <a:pt x="2941" y="13968"/>
                  </a:cubicBezTo>
                  <a:cubicBezTo>
                    <a:pt x="2911" y="13978"/>
                    <a:pt x="2885" y="13997"/>
                    <a:pt x="2864" y="14020"/>
                  </a:cubicBezTo>
                  <a:cubicBezTo>
                    <a:pt x="2825" y="14063"/>
                    <a:pt x="2782" y="14070"/>
                    <a:pt x="2729" y="14049"/>
                  </a:cubicBezTo>
                  <a:cubicBezTo>
                    <a:pt x="2667" y="14023"/>
                    <a:pt x="2616" y="14054"/>
                    <a:pt x="2571" y="14092"/>
                  </a:cubicBezTo>
                  <a:cubicBezTo>
                    <a:pt x="2548" y="14111"/>
                    <a:pt x="2524" y="14132"/>
                    <a:pt x="2506" y="14159"/>
                  </a:cubicBezTo>
                  <a:cubicBezTo>
                    <a:pt x="2489" y="14185"/>
                    <a:pt x="2468" y="14181"/>
                    <a:pt x="2455" y="14153"/>
                  </a:cubicBezTo>
                  <a:cubicBezTo>
                    <a:pt x="2448" y="14138"/>
                    <a:pt x="2444" y="14122"/>
                    <a:pt x="2438" y="14107"/>
                  </a:cubicBezTo>
                  <a:cubicBezTo>
                    <a:pt x="2427" y="14080"/>
                    <a:pt x="2433" y="14058"/>
                    <a:pt x="2456" y="14040"/>
                  </a:cubicBezTo>
                  <a:cubicBezTo>
                    <a:pt x="2489" y="14015"/>
                    <a:pt x="2521" y="13989"/>
                    <a:pt x="2551" y="13960"/>
                  </a:cubicBezTo>
                  <a:cubicBezTo>
                    <a:pt x="2569" y="13942"/>
                    <a:pt x="2592" y="13934"/>
                    <a:pt x="2619" y="13937"/>
                  </a:cubicBezTo>
                  <a:cubicBezTo>
                    <a:pt x="2653" y="13940"/>
                    <a:pt x="2687" y="13935"/>
                    <a:pt x="2714" y="13913"/>
                  </a:cubicBezTo>
                  <a:cubicBezTo>
                    <a:pt x="2730" y="13899"/>
                    <a:pt x="2749" y="13896"/>
                    <a:pt x="2766" y="13903"/>
                  </a:cubicBezTo>
                  <a:cubicBezTo>
                    <a:pt x="2810" y="13923"/>
                    <a:pt x="2840" y="13905"/>
                    <a:pt x="2873" y="13877"/>
                  </a:cubicBezTo>
                  <a:cubicBezTo>
                    <a:pt x="2893" y="13859"/>
                    <a:pt x="2911" y="13842"/>
                    <a:pt x="2929" y="13823"/>
                  </a:cubicBezTo>
                  <a:cubicBezTo>
                    <a:pt x="2914" y="13810"/>
                    <a:pt x="2901" y="13816"/>
                    <a:pt x="2889" y="13818"/>
                  </a:cubicBezTo>
                  <a:cubicBezTo>
                    <a:pt x="2833" y="13827"/>
                    <a:pt x="2782" y="13816"/>
                    <a:pt x="2739" y="13776"/>
                  </a:cubicBezTo>
                  <a:cubicBezTo>
                    <a:pt x="2738" y="13774"/>
                    <a:pt x="2736" y="13773"/>
                    <a:pt x="2735" y="13772"/>
                  </a:cubicBezTo>
                  <a:cubicBezTo>
                    <a:pt x="2711" y="13751"/>
                    <a:pt x="2687" y="13728"/>
                    <a:pt x="2652" y="13744"/>
                  </a:cubicBezTo>
                  <a:cubicBezTo>
                    <a:pt x="2614" y="13761"/>
                    <a:pt x="2605" y="13793"/>
                    <a:pt x="2604" y="13831"/>
                  </a:cubicBezTo>
                  <a:cubicBezTo>
                    <a:pt x="2604" y="13853"/>
                    <a:pt x="2607" y="13882"/>
                    <a:pt x="2582" y="13891"/>
                  </a:cubicBezTo>
                  <a:cubicBezTo>
                    <a:pt x="2549" y="13903"/>
                    <a:pt x="2513" y="13904"/>
                    <a:pt x="2478" y="13894"/>
                  </a:cubicBezTo>
                  <a:cubicBezTo>
                    <a:pt x="2465" y="13890"/>
                    <a:pt x="2460" y="13876"/>
                    <a:pt x="2459" y="13864"/>
                  </a:cubicBezTo>
                  <a:cubicBezTo>
                    <a:pt x="2459" y="13849"/>
                    <a:pt x="2465" y="13834"/>
                    <a:pt x="2463" y="13821"/>
                  </a:cubicBezTo>
                  <a:cubicBezTo>
                    <a:pt x="2445" y="13729"/>
                    <a:pt x="2511" y="13700"/>
                    <a:pt x="2575" y="13676"/>
                  </a:cubicBezTo>
                  <a:cubicBezTo>
                    <a:pt x="2608" y="13663"/>
                    <a:pt x="2641" y="13650"/>
                    <a:pt x="2671" y="13632"/>
                  </a:cubicBezTo>
                  <a:cubicBezTo>
                    <a:pt x="2697" y="13615"/>
                    <a:pt x="2722" y="13611"/>
                    <a:pt x="2746" y="13629"/>
                  </a:cubicBezTo>
                  <a:cubicBezTo>
                    <a:pt x="2806" y="13674"/>
                    <a:pt x="2871" y="13682"/>
                    <a:pt x="2945" y="13673"/>
                  </a:cubicBezTo>
                  <a:cubicBezTo>
                    <a:pt x="2995" y="13666"/>
                    <a:pt x="3047" y="13665"/>
                    <a:pt x="3096" y="13695"/>
                  </a:cubicBezTo>
                  <a:cubicBezTo>
                    <a:pt x="3124" y="13712"/>
                    <a:pt x="3165" y="13672"/>
                    <a:pt x="3148" y="13644"/>
                  </a:cubicBezTo>
                  <a:cubicBezTo>
                    <a:pt x="3107" y="13576"/>
                    <a:pt x="3122" y="13534"/>
                    <a:pt x="3192" y="13500"/>
                  </a:cubicBezTo>
                  <a:cubicBezTo>
                    <a:pt x="3220" y="13487"/>
                    <a:pt x="3236" y="13456"/>
                    <a:pt x="3228" y="13420"/>
                  </a:cubicBezTo>
                  <a:cubicBezTo>
                    <a:pt x="3222" y="13391"/>
                    <a:pt x="3237" y="13379"/>
                    <a:pt x="3264" y="13374"/>
                  </a:cubicBezTo>
                  <a:cubicBezTo>
                    <a:pt x="3307" y="13366"/>
                    <a:pt x="3346" y="13378"/>
                    <a:pt x="3383" y="13398"/>
                  </a:cubicBezTo>
                  <a:cubicBezTo>
                    <a:pt x="3435" y="13428"/>
                    <a:pt x="3456" y="13417"/>
                    <a:pt x="3457" y="13358"/>
                  </a:cubicBezTo>
                  <a:cubicBezTo>
                    <a:pt x="3460" y="13246"/>
                    <a:pt x="3507" y="13151"/>
                    <a:pt x="3567" y="13060"/>
                  </a:cubicBezTo>
                  <a:cubicBezTo>
                    <a:pt x="3591" y="13023"/>
                    <a:pt x="3608" y="12983"/>
                    <a:pt x="3619" y="12941"/>
                  </a:cubicBezTo>
                  <a:cubicBezTo>
                    <a:pt x="3626" y="12912"/>
                    <a:pt x="3628" y="12882"/>
                    <a:pt x="3592" y="12867"/>
                  </a:cubicBezTo>
                  <a:cubicBezTo>
                    <a:pt x="3573" y="12859"/>
                    <a:pt x="3566" y="12841"/>
                    <a:pt x="3580" y="12827"/>
                  </a:cubicBezTo>
                  <a:cubicBezTo>
                    <a:pt x="3610" y="12798"/>
                    <a:pt x="3606" y="12764"/>
                    <a:pt x="3607" y="12728"/>
                  </a:cubicBezTo>
                  <a:cubicBezTo>
                    <a:pt x="3607" y="12674"/>
                    <a:pt x="3609" y="12673"/>
                    <a:pt x="3666" y="12662"/>
                  </a:cubicBezTo>
                  <a:cubicBezTo>
                    <a:pt x="3676" y="12660"/>
                    <a:pt x="3687" y="12658"/>
                    <a:pt x="3696" y="12655"/>
                  </a:cubicBezTo>
                  <a:cubicBezTo>
                    <a:pt x="3724" y="12646"/>
                    <a:pt x="3741" y="12630"/>
                    <a:pt x="3727" y="12599"/>
                  </a:cubicBezTo>
                  <a:cubicBezTo>
                    <a:pt x="3715" y="12571"/>
                    <a:pt x="3730" y="12558"/>
                    <a:pt x="3751" y="12544"/>
                  </a:cubicBezTo>
                  <a:cubicBezTo>
                    <a:pt x="3774" y="12528"/>
                    <a:pt x="3790" y="12528"/>
                    <a:pt x="3812" y="12545"/>
                  </a:cubicBezTo>
                  <a:cubicBezTo>
                    <a:pt x="3844" y="12569"/>
                    <a:pt x="3849" y="12568"/>
                    <a:pt x="3867" y="12532"/>
                  </a:cubicBezTo>
                  <a:cubicBezTo>
                    <a:pt x="3881" y="12503"/>
                    <a:pt x="3909" y="12501"/>
                    <a:pt x="3929" y="12483"/>
                  </a:cubicBezTo>
                  <a:cubicBezTo>
                    <a:pt x="3941" y="12473"/>
                    <a:pt x="3962" y="12468"/>
                    <a:pt x="3957" y="12446"/>
                  </a:cubicBezTo>
                  <a:cubicBezTo>
                    <a:pt x="3951" y="12424"/>
                    <a:pt x="3932" y="12420"/>
                    <a:pt x="3913" y="12421"/>
                  </a:cubicBezTo>
                  <a:cubicBezTo>
                    <a:pt x="3900" y="12421"/>
                    <a:pt x="3888" y="12423"/>
                    <a:pt x="3875" y="12423"/>
                  </a:cubicBezTo>
                  <a:cubicBezTo>
                    <a:pt x="3862" y="12423"/>
                    <a:pt x="3845" y="12421"/>
                    <a:pt x="3842" y="12410"/>
                  </a:cubicBezTo>
                  <a:cubicBezTo>
                    <a:pt x="3828" y="12372"/>
                    <a:pt x="3793" y="12350"/>
                    <a:pt x="3772" y="12318"/>
                  </a:cubicBezTo>
                  <a:cubicBezTo>
                    <a:pt x="3745" y="12278"/>
                    <a:pt x="3766" y="12243"/>
                    <a:pt x="3785" y="12208"/>
                  </a:cubicBezTo>
                  <a:cubicBezTo>
                    <a:pt x="3810" y="12159"/>
                    <a:pt x="3807" y="12145"/>
                    <a:pt x="3765" y="12115"/>
                  </a:cubicBezTo>
                  <a:cubicBezTo>
                    <a:pt x="3761" y="12112"/>
                    <a:pt x="3758" y="12110"/>
                    <a:pt x="3754" y="12108"/>
                  </a:cubicBezTo>
                  <a:cubicBezTo>
                    <a:pt x="3738" y="12099"/>
                    <a:pt x="3718" y="12094"/>
                    <a:pt x="3714" y="12072"/>
                  </a:cubicBezTo>
                  <a:cubicBezTo>
                    <a:pt x="3707" y="12040"/>
                    <a:pt x="3706" y="12006"/>
                    <a:pt x="3713" y="11973"/>
                  </a:cubicBezTo>
                  <a:cubicBezTo>
                    <a:pt x="3717" y="11953"/>
                    <a:pt x="3738" y="11953"/>
                    <a:pt x="3754" y="11962"/>
                  </a:cubicBezTo>
                  <a:cubicBezTo>
                    <a:pt x="3773" y="11971"/>
                    <a:pt x="3792" y="11983"/>
                    <a:pt x="3811" y="11963"/>
                  </a:cubicBezTo>
                  <a:cubicBezTo>
                    <a:pt x="3829" y="11945"/>
                    <a:pt x="3831" y="11921"/>
                    <a:pt x="3821" y="11899"/>
                  </a:cubicBezTo>
                  <a:cubicBezTo>
                    <a:pt x="3790" y="11827"/>
                    <a:pt x="3811" y="11766"/>
                    <a:pt x="3859" y="11709"/>
                  </a:cubicBezTo>
                  <a:cubicBezTo>
                    <a:pt x="3866" y="11702"/>
                    <a:pt x="3875" y="11692"/>
                    <a:pt x="3875" y="11683"/>
                  </a:cubicBezTo>
                  <a:cubicBezTo>
                    <a:pt x="3880" y="11628"/>
                    <a:pt x="3921" y="11602"/>
                    <a:pt x="3961" y="11575"/>
                  </a:cubicBezTo>
                  <a:cubicBezTo>
                    <a:pt x="3988" y="11556"/>
                    <a:pt x="4016" y="11538"/>
                    <a:pt x="4043" y="11519"/>
                  </a:cubicBezTo>
                  <a:cubicBezTo>
                    <a:pt x="4057" y="11510"/>
                    <a:pt x="4061" y="11496"/>
                    <a:pt x="4052" y="11481"/>
                  </a:cubicBezTo>
                  <a:cubicBezTo>
                    <a:pt x="4045" y="11469"/>
                    <a:pt x="4031" y="11467"/>
                    <a:pt x="4019" y="11472"/>
                  </a:cubicBezTo>
                  <a:cubicBezTo>
                    <a:pt x="3986" y="11486"/>
                    <a:pt x="3954" y="11500"/>
                    <a:pt x="3922" y="11515"/>
                  </a:cubicBezTo>
                  <a:cubicBezTo>
                    <a:pt x="3910" y="11521"/>
                    <a:pt x="3898" y="11527"/>
                    <a:pt x="3889" y="11515"/>
                  </a:cubicBezTo>
                  <a:cubicBezTo>
                    <a:pt x="3869" y="11491"/>
                    <a:pt x="3849" y="11466"/>
                    <a:pt x="3835" y="11439"/>
                  </a:cubicBezTo>
                  <a:cubicBezTo>
                    <a:pt x="3821" y="11414"/>
                    <a:pt x="3831" y="11378"/>
                    <a:pt x="3859" y="11363"/>
                  </a:cubicBezTo>
                  <a:cubicBezTo>
                    <a:pt x="3905" y="11340"/>
                    <a:pt x="3926" y="11310"/>
                    <a:pt x="3923" y="11255"/>
                  </a:cubicBezTo>
                  <a:cubicBezTo>
                    <a:pt x="3920" y="11194"/>
                    <a:pt x="4013" y="11154"/>
                    <a:pt x="4064" y="11190"/>
                  </a:cubicBezTo>
                  <a:cubicBezTo>
                    <a:pt x="4090" y="11208"/>
                    <a:pt x="4111" y="11231"/>
                    <a:pt x="4131" y="11255"/>
                  </a:cubicBezTo>
                  <a:cubicBezTo>
                    <a:pt x="4154" y="11283"/>
                    <a:pt x="4163" y="11280"/>
                    <a:pt x="4180" y="11250"/>
                  </a:cubicBezTo>
                  <a:cubicBezTo>
                    <a:pt x="4187" y="11239"/>
                    <a:pt x="4191" y="11227"/>
                    <a:pt x="4198" y="11217"/>
                  </a:cubicBezTo>
                  <a:cubicBezTo>
                    <a:pt x="4213" y="11195"/>
                    <a:pt x="4232" y="11182"/>
                    <a:pt x="4261" y="11183"/>
                  </a:cubicBezTo>
                  <a:cubicBezTo>
                    <a:pt x="4309" y="11186"/>
                    <a:pt x="4351" y="11171"/>
                    <a:pt x="4384" y="11133"/>
                  </a:cubicBezTo>
                  <a:cubicBezTo>
                    <a:pt x="4385" y="11132"/>
                    <a:pt x="4387" y="11131"/>
                    <a:pt x="4388" y="11129"/>
                  </a:cubicBezTo>
                  <a:cubicBezTo>
                    <a:pt x="4442" y="11086"/>
                    <a:pt x="4487" y="11102"/>
                    <a:pt x="4500" y="11170"/>
                  </a:cubicBezTo>
                  <a:cubicBezTo>
                    <a:pt x="4502" y="11176"/>
                    <a:pt x="4502" y="11182"/>
                    <a:pt x="4502" y="11188"/>
                  </a:cubicBezTo>
                  <a:cubicBezTo>
                    <a:pt x="4497" y="11230"/>
                    <a:pt x="4513" y="11264"/>
                    <a:pt x="4540" y="11296"/>
                  </a:cubicBezTo>
                  <a:cubicBezTo>
                    <a:pt x="4574" y="11336"/>
                    <a:pt x="4573" y="11338"/>
                    <a:pt x="4540" y="11384"/>
                  </a:cubicBezTo>
                  <a:cubicBezTo>
                    <a:pt x="4535" y="11391"/>
                    <a:pt x="4531" y="11398"/>
                    <a:pt x="4534" y="11407"/>
                  </a:cubicBezTo>
                  <a:cubicBezTo>
                    <a:pt x="4538" y="11419"/>
                    <a:pt x="4548" y="11421"/>
                    <a:pt x="4559" y="11420"/>
                  </a:cubicBezTo>
                  <a:cubicBezTo>
                    <a:pt x="4578" y="11418"/>
                    <a:pt x="4596" y="11415"/>
                    <a:pt x="4615" y="11412"/>
                  </a:cubicBezTo>
                  <a:cubicBezTo>
                    <a:pt x="4640" y="11408"/>
                    <a:pt x="4664" y="11408"/>
                    <a:pt x="4686" y="11425"/>
                  </a:cubicBezTo>
                  <a:cubicBezTo>
                    <a:pt x="4693" y="11432"/>
                    <a:pt x="4705" y="11438"/>
                    <a:pt x="4713" y="11438"/>
                  </a:cubicBezTo>
                  <a:cubicBezTo>
                    <a:pt x="4762" y="11433"/>
                    <a:pt x="4790" y="11465"/>
                    <a:pt x="4816" y="11498"/>
                  </a:cubicBezTo>
                  <a:cubicBezTo>
                    <a:pt x="4836" y="11523"/>
                    <a:pt x="4857" y="11544"/>
                    <a:pt x="4888" y="11554"/>
                  </a:cubicBezTo>
                  <a:cubicBezTo>
                    <a:pt x="4914" y="11562"/>
                    <a:pt x="4927" y="11585"/>
                    <a:pt x="4945" y="11602"/>
                  </a:cubicBezTo>
                  <a:cubicBezTo>
                    <a:pt x="4961" y="11618"/>
                    <a:pt x="4954" y="11636"/>
                    <a:pt x="4950" y="11655"/>
                  </a:cubicBezTo>
                  <a:cubicBezTo>
                    <a:pt x="4946" y="11670"/>
                    <a:pt x="4951" y="11684"/>
                    <a:pt x="4966" y="11691"/>
                  </a:cubicBezTo>
                  <a:cubicBezTo>
                    <a:pt x="4979" y="11698"/>
                    <a:pt x="4990" y="11694"/>
                    <a:pt x="5001" y="11686"/>
                  </a:cubicBezTo>
                  <a:cubicBezTo>
                    <a:pt x="5004" y="11684"/>
                    <a:pt x="5007" y="11680"/>
                    <a:pt x="5010" y="11678"/>
                  </a:cubicBezTo>
                  <a:cubicBezTo>
                    <a:pt x="5025" y="11665"/>
                    <a:pt x="5041" y="11654"/>
                    <a:pt x="5061" y="11666"/>
                  </a:cubicBezTo>
                  <a:cubicBezTo>
                    <a:pt x="5083" y="11679"/>
                    <a:pt x="5078" y="11701"/>
                    <a:pt x="5076" y="11722"/>
                  </a:cubicBezTo>
                  <a:cubicBezTo>
                    <a:pt x="5076" y="11728"/>
                    <a:pt x="5074" y="11735"/>
                    <a:pt x="5071" y="11739"/>
                  </a:cubicBezTo>
                  <a:cubicBezTo>
                    <a:pt x="5049" y="11772"/>
                    <a:pt x="5039" y="11802"/>
                    <a:pt x="5050" y="11844"/>
                  </a:cubicBezTo>
                  <a:cubicBezTo>
                    <a:pt x="5058" y="11876"/>
                    <a:pt x="5035" y="11907"/>
                    <a:pt x="5008" y="11930"/>
                  </a:cubicBezTo>
                  <a:cubicBezTo>
                    <a:pt x="4917" y="12010"/>
                    <a:pt x="4881" y="12108"/>
                    <a:pt x="4921" y="12226"/>
                  </a:cubicBezTo>
                  <a:cubicBezTo>
                    <a:pt x="4932" y="12258"/>
                    <a:pt x="4930" y="12282"/>
                    <a:pt x="4902" y="12302"/>
                  </a:cubicBezTo>
                  <a:cubicBezTo>
                    <a:pt x="4881" y="12318"/>
                    <a:pt x="4871" y="12338"/>
                    <a:pt x="4861" y="12363"/>
                  </a:cubicBezTo>
                  <a:cubicBezTo>
                    <a:pt x="4844" y="12408"/>
                    <a:pt x="4812" y="12447"/>
                    <a:pt x="4767" y="12469"/>
                  </a:cubicBezTo>
                  <a:cubicBezTo>
                    <a:pt x="4745" y="12480"/>
                    <a:pt x="4737" y="12495"/>
                    <a:pt x="4729" y="12515"/>
                  </a:cubicBezTo>
                  <a:cubicBezTo>
                    <a:pt x="4706" y="12577"/>
                    <a:pt x="4644" y="12611"/>
                    <a:pt x="4580" y="12593"/>
                  </a:cubicBezTo>
                  <a:cubicBezTo>
                    <a:pt x="4544" y="12583"/>
                    <a:pt x="4506" y="12577"/>
                    <a:pt x="4473" y="12558"/>
                  </a:cubicBezTo>
                  <a:cubicBezTo>
                    <a:pt x="4455" y="12548"/>
                    <a:pt x="4436" y="12550"/>
                    <a:pt x="4424" y="12570"/>
                  </a:cubicBezTo>
                  <a:cubicBezTo>
                    <a:pt x="4411" y="12592"/>
                    <a:pt x="4419" y="12610"/>
                    <a:pt x="4440" y="12622"/>
                  </a:cubicBezTo>
                  <a:cubicBezTo>
                    <a:pt x="4463" y="12635"/>
                    <a:pt x="4483" y="12658"/>
                    <a:pt x="4511" y="12658"/>
                  </a:cubicBezTo>
                  <a:cubicBezTo>
                    <a:pt x="4552" y="12658"/>
                    <a:pt x="4570" y="12680"/>
                    <a:pt x="4584" y="12714"/>
                  </a:cubicBezTo>
                  <a:cubicBezTo>
                    <a:pt x="4598" y="12747"/>
                    <a:pt x="4618" y="12767"/>
                    <a:pt x="4661" y="12756"/>
                  </a:cubicBezTo>
                  <a:cubicBezTo>
                    <a:pt x="4700" y="12747"/>
                    <a:pt x="4735" y="12791"/>
                    <a:pt x="4727" y="12832"/>
                  </a:cubicBezTo>
                  <a:cubicBezTo>
                    <a:pt x="4707" y="12947"/>
                    <a:pt x="4707" y="12945"/>
                    <a:pt x="4814" y="12985"/>
                  </a:cubicBezTo>
                  <a:cubicBezTo>
                    <a:pt x="4853" y="13000"/>
                    <a:pt x="4887" y="13025"/>
                    <a:pt x="4923" y="13045"/>
                  </a:cubicBezTo>
                  <a:cubicBezTo>
                    <a:pt x="4981" y="13078"/>
                    <a:pt x="5003" y="13068"/>
                    <a:pt x="5035" y="13009"/>
                  </a:cubicBezTo>
                  <a:cubicBezTo>
                    <a:pt x="5080" y="12927"/>
                    <a:pt x="5131" y="12849"/>
                    <a:pt x="5197" y="12781"/>
                  </a:cubicBezTo>
                  <a:cubicBezTo>
                    <a:pt x="5233" y="12746"/>
                    <a:pt x="5265" y="12708"/>
                    <a:pt x="5292" y="12666"/>
                  </a:cubicBezTo>
                  <a:cubicBezTo>
                    <a:pt x="5320" y="12621"/>
                    <a:pt x="5337" y="12572"/>
                    <a:pt x="5325" y="12518"/>
                  </a:cubicBezTo>
                  <a:cubicBezTo>
                    <a:pt x="5315" y="12474"/>
                    <a:pt x="5318" y="12432"/>
                    <a:pt x="5343" y="12392"/>
                  </a:cubicBezTo>
                  <a:cubicBezTo>
                    <a:pt x="5360" y="12366"/>
                    <a:pt x="5368" y="12335"/>
                    <a:pt x="5381" y="12307"/>
                  </a:cubicBezTo>
                  <a:cubicBezTo>
                    <a:pt x="5388" y="12292"/>
                    <a:pt x="5397" y="12274"/>
                    <a:pt x="5416" y="12276"/>
                  </a:cubicBezTo>
                  <a:cubicBezTo>
                    <a:pt x="5435" y="12279"/>
                    <a:pt x="5429" y="12299"/>
                    <a:pt x="5431" y="12312"/>
                  </a:cubicBezTo>
                  <a:cubicBezTo>
                    <a:pt x="5432" y="12318"/>
                    <a:pt x="5435" y="12324"/>
                    <a:pt x="5436" y="12329"/>
                  </a:cubicBezTo>
                  <a:cubicBezTo>
                    <a:pt x="5443" y="12333"/>
                    <a:pt x="5449" y="12331"/>
                    <a:pt x="5454" y="12328"/>
                  </a:cubicBezTo>
                  <a:cubicBezTo>
                    <a:pt x="5486" y="12310"/>
                    <a:pt x="5502" y="12315"/>
                    <a:pt x="5501" y="12348"/>
                  </a:cubicBezTo>
                  <a:cubicBezTo>
                    <a:pt x="5501" y="12379"/>
                    <a:pt x="5494" y="12410"/>
                    <a:pt x="5489" y="12440"/>
                  </a:cubicBezTo>
                  <a:cubicBezTo>
                    <a:pt x="5487" y="12455"/>
                    <a:pt x="5484" y="12469"/>
                    <a:pt x="5482" y="12483"/>
                  </a:cubicBezTo>
                  <a:cubicBezTo>
                    <a:pt x="5480" y="12492"/>
                    <a:pt x="5484" y="12500"/>
                    <a:pt x="5492" y="12505"/>
                  </a:cubicBezTo>
                  <a:cubicBezTo>
                    <a:pt x="5501" y="12510"/>
                    <a:pt x="5508" y="12504"/>
                    <a:pt x="5513" y="12498"/>
                  </a:cubicBezTo>
                  <a:cubicBezTo>
                    <a:pt x="5521" y="12486"/>
                    <a:pt x="5525" y="12468"/>
                    <a:pt x="5545" y="12476"/>
                  </a:cubicBezTo>
                  <a:cubicBezTo>
                    <a:pt x="5567" y="12485"/>
                    <a:pt x="5575" y="12505"/>
                    <a:pt x="5573" y="12527"/>
                  </a:cubicBezTo>
                  <a:cubicBezTo>
                    <a:pt x="5568" y="12581"/>
                    <a:pt x="5546" y="12629"/>
                    <a:pt x="5503" y="12662"/>
                  </a:cubicBezTo>
                  <a:cubicBezTo>
                    <a:pt x="5453" y="12700"/>
                    <a:pt x="5424" y="12750"/>
                    <a:pt x="5405" y="12809"/>
                  </a:cubicBezTo>
                  <a:cubicBezTo>
                    <a:pt x="5386" y="12866"/>
                    <a:pt x="5373" y="12925"/>
                    <a:pt x="5337" y="12975"/>
                  </a:cubicBezTo>
                  <a:cubicBezTo>
                    <a:pt x="5335" y="12979"/>
                    <a:pt x="5333" y="12983"/>
                    <a:pt x="5333" y="12987"/>
                  </a:cubicBezTo>
                  <a:cubicBezTo>
                    <a:pt x="5330" y="12999"/>
                    <a:pt x="5326" y="13013"/>
                    <a:pt x="5340" y="13020"/>
                  </a:cubicBezTo>
                  <a:cubicBezTo>
                    <a:pt x="5350" y="13025"/>
                    <a:pt x="5362" y="13020"/>
                    <a:pt x="5368" y="13012"/>
                  </a:cubicBezTo>
                  <a:cubicBezTo>
                    <a:pt x="5394" y="12975"/>
                    <a:pt x="5427" y="12941"/>
                    <a:pt x="5436" y="12894"/>
                  </a:cubicBezTo>
                  <a:cubicBezTo>
                    <a:pt x="5442" y="12868"/>
                    <a:pt x="5452" y="12843"/>
                    <a:pt x="5460" y="12817"/>
                  </a:cubicBezTo>
                  <a:cubicBezTo>
                    <a:pt x="5466" y="12795"/>
                    <a:pt x="5480" y="12776"/>
                    <a:pt x="5500" y="12771"/>
                  </a:cubicBezTo>
                  <a:cubicBezTo>
                    <a:pt x="5543" y="12762"/>
                    <a:pt x="5565" y="12731"/>
                    <a:pt x="5584" y="12698"/>
                  </a:cubicBezTo>
                  <a:cubicBezTo>
                    <a:pt x="5604" y="12704"/>
                    <a:pt x="5603" y="12715"/>
                    <a:pt x="5601" y="12729"/>
                  </a:cubicBezTo>
                  <a:cubicBezTo>
                    <a:pt x="5597" y="12749"/>
                    <a:pt x="5606" y="12761"/>
                    <a:pt x="5628" y="12760"/>
                  </a:cubicBezTo>
                  <a:cubicBezTo>
                    <a:pt x="5659" y="12758"/>
                    <a:pt x="5658" y="12776"/>
                    <a:pt x="5647" y="12795"/>
                  </a:cubicBezTo>
                  <a:cubicBezTo>
                    <a:pt x="5634" y="12819"/>
                    <a:pt x="5617" y="12841"/>
                    <a:pt x="5604" y="12864"/>
                  </a:cubicBezTo>
                  <a:cubicBezTo>
                    <a:pt x="5594" y="12881"/>
                    <a:pt x="5595" y="12894"/>
                    <a:pt x="5620" y="12900"/>
                  </a:cubicBezTo>
                  <a:cubicBezTo>
                    <a:pt x="5662" y="12909"/>
                    <a:pt x="5668" y="12920"/>
                    <a:pt x="5658" y="12958"/>
                  </a:cubicBezTo>
                  <a:cubicBezTo>
                    <a:pt x="5647" y="13001"/>
                    <a:pt x="5621" y="13033"/>
                    <a:pt x="5581" y="13050"/>
                  </a:cubicBezTo>
                  <a:cubicBezTo>
                    <a:pt x="5539" y="13068"/>
                    <a:pt x="5511" y="13100"/>
                    <a:pt x="5486" y="13137"/>
                  </a:cubicBezTo>
                  <a:cubicBezTo>
                    <a:pt x="5409" y="13246"/>
                    <a:pt x="5322" y="13345"/>
                    <a:pt x="5208" y="13417"/>
                  </a:cubicBezTo>
                  <a:cubicBezTo>
                    <a:pt x="5157" y="13449"/>
                    <a:pt x="5108" y="13485"/>
                    <a:pt x="5064" y="13524"/>
                  </a:cubicBezTo>
                  <a:cubicBezTo>
                    <a:pt x="4978" y="13601"/>
                    <a:pt x="4870" y="13591"/>
                    <a:pt x="4787" y="13538"/>
                  </a:cubicBezTo>
                  <a:cubicBezTo>
                    <a:pt x="4718" y="13494"/>
                    <a:pt x="4652" y="13448"/>
                    <a:pt x="4584" y="13402"/>
                  </a:cubicBezTo>
                  <a:cubicBezTo>
                    <a:pt x="4544" y="13375"/>
                    <a:pt x="4535" y="13379"/>
                    <a:pt x="4524" y="13427"/>
                  </a:cubicBezTo>
                  <a:cubicBezTo>
                    <a:pt x="4519" y="13450"/>
                    <a:pt x="4516" y="13473"/>
                    <a:pt x="4524" y="13495"/>
                  </a:cubicBezTo>
                  <a:cubicBezTo>
                    <a:pt x="4544" y="13555"/>
                    <a:pt x="4538" y="13614"/>
                    <a:pt x="4523" y="13673"/>
                  </a:cubicBezTo>
                  <a:cubicBezTo>
                    <a:pt x="4519" y="13694"/>
                    <a:pt x="4514" y="13715"/>
                    <a:pt x="4516" y="13735"/>
                  </a:cubicBezTo>
                  <a:cubicBezTo>
                    <a:pt x="4521" y="13815"/>
                    <a:pt x="4486" y="13881"/>
                    <a:pt x="4441" y="13941"/>
                  </a:cubicBezTo>
                  <a:cubicBezTo>
                    <a:pt x="4397" y="14000"/>
                    <a:pt x="4388" y="14057"/>
                    <a:pt x="4416" y="14127"/>
                  </a:cubicBezTo>
                  <a:cubicBezTo>
                    <a:pt x="4444" y="14198"/>
                    <a:pt x="4479" y="14267"/>
                    <a:pt x="4503" y="14340"/>
                  </a:cubicBezTo>
                  <a:cubicBezTo>
                    <a:pt x="4534" y="14438"/>
                    <a:pt x="4574" y="14535"/>
                    <a:pt x="4598" y="14636"/>
                  </a:cubicBezTo>
                  <a:cubicBezTo>
                    <a:pt x="4613" y="14699"/>
                    <a:pt x="4632" y="14760"/>
                    <a:pt x="4673" y="14812"/>
                  </a:cubicBezTo>
                  <a:cubicBezTo>
                    <a:pt x="4698" y="14843"/>
                    <a:pt x="4694" y="14874"/>
                    <a:pt x="4672" y="14904"/>
                  </a:cubicBezTo>
                  <a:cubicBezTo>
                    <a:pt x="4660" y="14919"/>
                    <a:pt x="4646" y="14932"/>
                    <a:pt x="4638" y="14949"/>
                  </a:cubicBezTo>
                  <a:cubicBezTo>
                    <a:pt x="4609" y="15011"/>
                    <a:pt x="4558" y="15030"/>
                    <a:pt x="4494" y="15024"/>
                  </a:cubicBezTo>
                  <a:cubicBezTo>
                    <a:pt x="4458" y="15021"/>
                    <a:pt x="4431" y="15030"/>
                    <a:pt x="4411" y="15063"/>
                  </a:cubicBezTo>
                  <a:cubicBezTo>
                    <a:pt x="4386" y="15103"/>
                    <a:pt x="4357" y="15123"/>
                    <a:pt x="4302" y="15112"/>
                  </a:cubicBezTo>
                  <a:cubicBezTo>
                    <a:pt x="4256" y="15103"/>
                    <a:pt x="4204" y="15120"/>
                    <a:pt x="4155" y="15127"/>
                  </a:cubicBezTo>
                  <a:cubicBezTo>
                    <a:pt x="4133" y="15130"/>
                    <a:pt x="4121" y="15146"/>
                    <a:pt x="4127" y="15168"/>
                  </a:cubicBezTo>
                  <a:cubicBezTo>
                    <a:pt x="4145" y="15236"/>
                    <a:pt x="4141" y="15308"/>
                    <a:pt x="4160" y="15377"/>
                  </a:cubicBezTo>
                  <a:cubicBezTo>
                    <a:pt x="4164" y="15392"/>
                    <a:pt x="4164" y="15410"/>
                    <a:pt x="4165" y="15426"/>
                  </a:cubicBezTo>
                  <a:cubicBezTo>
                    <a:pt x="4167" y="15557"/>
                    <a:pt x="4169" y="15689"/>
                    <a:pt x="4171" y="15820"/>
                  </a:cubicBezTo>
                  <a:cubicBezTo>
                    <a:pt x="4172" y="15849"/>
                    <a:pt x="4174" y="15878"/>
                    <a:pt x="4188" y="15905"/>
                  </a:cubicBezTo>
                  <a:cubicBezTo>
                    <a:pt x="4198" y="15927"/>
                    <a:pt x="4200" y="15964"/>
                    <a:pt x="4241" y="15934"/>
                  </a:cubicBezTo>
                  <a:cubicBezTo>
                    <a:pt x="4252" y="15926"/>
                    <a:pt x="4264" y="15939"/>
                    <a:pt x="4273" y="15947"/>
                  </a:cubicBezTo>
                  <a:cubicBezTo>
                    <a:pt x="4299" y="15968"/>
                    <a:pt x="4323" y="15991"/>
                    <a:pt x="4354" y="16006"/>
                  </a:cubicBezTo>
                  <a:cubicBezTo>
                    <a:pt x="4374" y="16015"/>
                    <a:pt x="4375" y="16029"/>
                    <a:pt x="4361" y="16046"/>
                  </a:cubicBezTo>
                  <a:cubicBezTo>
                    <a:pt x="4338" y="16072"/>
                    <a:pt x="4346" y="16090"/>
                    <a:pt x="4376" y="16103"/>
                  </a:cubicBezTo>
                  <a:cubicBezTo>
                    <a:pt x="4404" y="16115"/>
                    <a:pt x="4421" y="16136"/>
                    <a:pt x="4433" y="16165"/>
                  </a:cubicBezTo>
                  <a:cubicBezTo>
                    <a:pt x="4451" y="16207"/>
                    <a:pt x="4472" y="16206"/>
                    <a:pt x="4501" y="16171"/>
                  </a:cubicBezTo>
                  <a:cubicBezTo>
                    <a:pt x="4523" y="16144"/>
                    <a:pt x="4512" y="16110"/>
                    <a:pt x="4525" y="16077"/>
                  </a:cubicBezTo>
                  <a:cubicBezTo>
                    <a:pt x="4556" y="16098"/>
                    <a:pt x="4569" y="16125"/>
                    <a:pt x="4573" y="16159"/>
                  </a:cubicBezTo>
                  <a:cubicBezTo>
                    <a:pt x="4574" y="16176"/>
                    <a:pt x="4577" y="16195"/>
                    <a:pt x="4600" y="16194"/>
                  </a:cubicBezTo>
                  <a:cubicBezTo>
                    <a:pt x="4619" y="16194"/>
                    <a:pt x="4629" y="16178"/>
                    <a:pt x="4631" y="16161"/>
                  </a:cubicBezTo>
                  <a:cubicBezTo>
                    <a:pt x="4635" y="16132"/>
                    <a:pt x="4636" y="16103"/>
                    <a:pt x="4638" y="16074"/>
                  </a:cubicBezTo>
                  <a:cubicBezTo>
                    <a:pt x="4638" y="16065"/>
                    <a:pt x="4638" y="16056"/>
                    <a:pt x="4647" y="16052"/>
                  </a:cubicBezTo>
                  <a:cubicBezTo>
                    <a:pt x="4658" y="16047"/>
                    <a:pt x="4667" y="16055"/>
                    <a:pt x="4674" y="16063"/>
                  </a:cubicBezTo>
                  <a:cubicBezTo>
                    <a:pt x="4692" y="16081"/>
                    <a:pt x="4689" y="16121"/>
                    <a:pt x="4723" y="16120"/>
                  </a:cubicBezTo>
                  <a:cubicBezTo>
                    <a:pt x="4752" y="16120"/>
                    <a:pt x="4750" y="16081"/>
                    <a:pt x="4773" y="16068"/>
                  </a:cubicBezTo>
                  <a:cubicBezTo>
                    <a:pt x="4787" y="16061"/>
                    <a:pt x="4794" y="16042"/>
                    <a:pt x="4814" y="16044"/>
                  </a:cubicBezTo>
                  <a:cubicBezTo>
                    <a:pt x="4831" y="16060"/>
                    <a:pt x="4820" y="16075"/>
                    <a:pt x="4812" y="16089"/>
                  </a:cubicBezTo>
                  <a:cubicBezTo>
                    <a:pt x="4795" y="16117"/>
                    <a:pt x="4796" y="16149"/>
                    <a:pt x="4794" y="16180"/>
                  </a:cubicBezTo>
                  <a:cubicBezTo>
                    <a:pt x="4793" y="16191"/>
                    <a:pt x="4795" y="16202"/>
                    <a:pt x="4808" y="16204"/>
                  </a:cubicBezTo>
                  <a:cubicBezTo>
                    <a:pt x="4820" y="16207"/>
                    <a:pt x="4827" y="16198"/>
                    <a:pt x="4831" y="16188"/>
                  </a:cubicBezTo>
                  <a:cubicBezTo>
                    <a:pt x="4838" y="16168"/>
                    <a:pt x="4844" y="16148"/>
                    <a:pt x="4852" y="16129"/>
                  </a:cubicBezTo>
                  <a:cubicBezTo>
                    <a:pt x="4855" y="16122"/>
                    <a:pt x="4862" y="16116"/>
                    <a:pt x="4872" y="16118"/>
                  </a:cubicBezTo>
                  <a:cubicBezTo>
                    <a:pt x="4886" y="16127"/>
                    <a:pt x="4882" y="16143"/>
                    <a:pt x="4887" y="16157"/>
                  </a:cubicBezTo>
                  <a:cubicBezTo>
                    <a:pt x="4891" y="16169"/>
                    <a:pt x="4896" y="16181"/>
                    <a:pt x="4912" y="16179"/>
                  </a:cubicBezTo>
                  <a:cubicBezTo>
                    <a:pt x="4926" y="16176"/>
                    <a:pt x="4931" y="16164"/>
                    <a:pt x="4932" y="16151"/>
                  </a:cubicBezTo>
                  <a:cubicBezTo>
                    <a:pt x="4934" y="16122"/>
                    <a:pt x="4938" y="16093"/>
                    <a:pt x="4926" y="16065"/>
                  </a:cubicBezTo>
                  <a:cubicBezTo>
                    <a:pt x="4918" y="16046"/>
                    <a:pt x="4908" y="16027"/>
                    <a:pt x="4922" y="15997"/>
                  </a:cubicBezTo>
                  <a:cubicBezTo>
                    <a:pt x="4972" y="16057"/>
                    <a:pt x="4999" y="16121"/>
                    <a:pt x="5012" y="16194"/>
                  </a:cubicBezTo>
                  <a:cubicBezTo>
                    <a:pt x="5054" y="16178"/>
                    <a:pt x="5054" y="16145"/>
                    <a:pt x="5055" y="16112"/>
                  </a:cubicBezTo>
                  <a:cubicBezTo>
                    <a:pt x="5056" y="16059"/>
                    <a:pt x="5067" y="16011"/>
                    <a:pt x="5102" y="15967"/>
                  </a:cubicBezTo>
                  <a:cubicBezTo>
                    <a:pt x="5129" y="15932"/>
                    <a:pt x="5158" y="15928"/>
                    <a:pt x="5194" y="15938"/>
                  </a:cubicBezTo>
                  <a:cubicBezTo>
                    <a:pt x="5204" y="15940"/>
                    <a:pt x="5214" y="15945"/>
                    <a:pt x="5223" y="15950"/>
                  </a:cubicBezTo>
                  <a:cubicBezTo>
                    <a:pt x="5238" y="15958"/>
                    <a:pt x="5251" y="15959"/>
                    <a:pt x="5261" y="15943"/>
                  </a:cubicBezTo>
                  <a:cubicBezTo>
                    <a:pt x="5272" y="15925"/>
                    <a:pt x="5271" y="15907"/>
                    <a:pt x="5252" y="15894"/>
                  </a:cubicBezTo>
                  <a:cubicBezTo>
                    <a:pt x="5229" y="15878"/>
                    <a:pt x="5202" y="15875"/>
                    <a:pt x="5175" y="15872"/>
                  </a:cubicBezTo>
                  <a:cubicBezTo>
                    <a:pt x="5136" y="15867"/>
                    <a:pt x="5123" y="15853"/>
                    <a:pt x="5121" y="15823"/>
                  </a:cubicBezTo>
                  <a:cubicBezTo>
                    <a:pt x="5120" y="15789"/>
                    <a:pt x="5138" y="15771"/>
                    <a:pt x="5174" y="15774"/>
                  </a:cubicBezTo>
                  <a:cubicBezTo>
                    <a:pt x="5222" y="15778"/>
                    <a:pt x="5227" y="15773"/>
                    <a:pt x="5211" y="15730"/>
                  </a:cubicBezTo>
                  <a:cubicBezTo>
                    <a:pt x="5201" y="15703"/>
                    <a:pt x="5212" y="15690"/>
                    <a:pt x="5230" y="15678"/>
                  </a:cubicBezTo>
                  <a:cubicBezTo>
                    <a:pt x="5248" y="15665"/>
                    <a:pt x="5266" y="15672"/>
                    <a:pt x="5280" y="15687"/>
                  </a:cubicBezTo>
                  <a:cubicBezTo>
                    <a:pt x="5292" y="15699"/>
                    <a:pt x="5300" y="15712"/>
                    <a:pt x="5305" y="15729"/>
                  </a:cubicBezTo>
                  <a:cubicBezTo>
                    <a:pt x="5317" y="15766"/>
                    <a:pt x="5322" y="15767"/>
                    <a:pt x="5358" y="15751"/>
                  </a:cubicBezTo>
                  <a:cubicBezTo>
                    <a:pt x="5391" y="15737"/>
                    <a:pt x="5399" y="15739"/>
                    <a:pt x="5417" y="15767"/>
                  </a:cubicBezTo>
                  <a:cubicBezTo>
                    <a:pt x="5447" y="15814"/>
                    <a:pt x="5430" y="15867"/>
                    <a:pt x="5376" y="15898"/>
                  </a:cubicBezTo>
                  <a:cubicBezTo>
                    <a:pt x="5331" y="15924"/>
                    <a:pt x="5320" y="15949"/>
                    <a:pt x="5333" y="15994"/>
                  </a:cubicBezTo>
                  <a:cubicBezTo>
                    <a:pt x="5336" y="16005"/>
                    <a:pt x="5341" y="16014"/>
                    <a:pt x="5352" y="16017"/>
                  </a:cubicBezTo>
                  <a:cubicBezTo>
                    <a:pt x="5364" y="16021"/>
                    <a:pt x="5372" y="16012"/>
                    <a:pt x="5377" y="16003"/>
                  </a:cubicBezTo>
                  <a:cubicBezTo>
                    <a:pt x="5389" y="15980"/>
                    <a:pt x="5409" y="15965"/>
                    <a:pt x="5427" y="15948"/>
                  </a:cubicBezTo>
                  <a:cubicBezTo>
                    <a:pt x="5433" y="15942"/>
                    <a:pt x="5440" y="15937"/>
                    <a:pt x="5450" y="15938"/>
                  </a:cubicBezTo>
                  <a:cubicBezTo>
                    <a:pt x="5465" y="15956"/>
                    <a:pt x="5454" y="15971"/>
                    <a:pt x="5444" y="15987"/>
                  </a:cubicBezTo>
                  <a:cubicBezTo>
                    <a:pt x="5406" y="16043"/>
                    <a:pt x="5401" y="16107"/>
                    <a:pt x="5399" y="16172"/>
                  </a:cubicBezTo>
                  <a:cubicBezTo>
                    <a:pt x="5399" y="16185"/>
                    <a:pt x="5401" y="16198"/>
                    <a:pt x="5415" y="16203"/>
                  </a:cubicBezTo>
                  <a:cubicBezTo>
                    <a:pt x="5427" y="16207"/>
                    <a:pt x="5435" y="16198"/>
                    <a:pt x="5441" y="16189"/>
                  </a:cubicBezTo>
                  <a:cubicBezTo>
                    <a:pt x="5463" y="16160"/>
                    <a:pt x="5485" y="16176"/>
                    <a:pt x="5506" y="16190"/>
                  </a:cubicBezTo>
                  <a:cubicBezTo>
                    <a:pt x="5524" y="16202"/>
                    <a:pt x="5533" y="16226"/>
                    <a:pt x="5555" y="16233"/>
                  </a:cubicBezTo>
                  <a:cubicBezTo>
                    <a:pt x="5570" y="16222"/>
                    <a:pt x="5563" y="16214"/>
                    <a:pt x="5557" y="16205"/>
                  </a:cubicBezTo>
                  <a:cubicBezTo>
                    <a:pt x="5536" y="16177"/>
                    <a:pt x="5521" y="16144"/>
                    <a:pt x="5494" y="16120"/>
                  </a:cubicBezTo>
                  <a:cubicBezTo>
                    <a:pt x="5490" y="16117"/>
                    <a:pt x="5487" y="16108"/>
                    <a:pt x="5489" y="16103"/>
                  </a:cubicBezTo>
                  <a:cubicBezTo>
                    <a:pt x="5493" y="16096"/>
                    <a:pt x="5502" y="16093"/>
                    <a:pt x="5511" y="16096"/>
                  </a:cubicBezTo>
                  <a:cubicBezTo>
                    <a:pt x="5547" y="16111"/>
                    <a:pt x="5583" y="16127"/>
                    <a:pt x="5619" y="16143"/>
                  </a:cubicBezTo>
                  <a:cubicBezTo>
                    <a:pt x="5631" y="16148"/>
                    <a:pt x="5645" y="16153"/>
                    <a:pt x="5652" y="16139"/>
                  </a:cubicBezTo>
                  <a:cubicBezTo>
                    <a:pt x="5659" y="16126"/>
                    <a:pt x="5652" y="16113"/>
                    <a:pt x="5643" y="16105"/>
                  </a:cubicBezTo>
                  <a:cubicBezTo>
                    <a:pt x="5632" y="16096"/>
                    <a:pt x="5618" y="16090"/>
                    <a:pt x="5606" y="16082"/>
                  </a:cubicBezTo>
                  <a:cubicBezTo>
                    <a:pt x="5574" y="16063"/>
                    <a:pt x="5568" y="16048"/>
                    <a:pt x="5576" y="16016"/>
                  </a:cubicBezTo>
                  <a:cubicBezTo>
                    <a:pt x="5583" y="15990"/>
                    <a:pt x="5600" y="15976"/>
                    <a:pt x="5625" y="15975"/>
                  </a:cubicBezTo>
                  <a:cubicBezTo>
                    <a:pt x="5648" y="15973"/>
                    <a:pt x="5679" y="16000"/>
                    <a:pt x="5678" y="16027"/>
                  </a:cubicBezTo>
                  <a:cubicBezTo>
                    <a:pt x="5677" y="16081"/>
                    <a:pt x="5719" y="16117"/>
                    <a:pt x="5730" y="16166"/>
                  </a:cubicBezTo>
                  <a:cubicBezTo>
                    <a:pt x="5733" y="16178"/>
                    <a:pt x="5744" y="16188"/>
                    <a:pt x="5759" y="16183"/>
                  </a:cubicBezTo>
                  <a:cubicBezTo>
                    <a:pt x="5770" y="16179"/>
                    <a:pt x="5772" y="16168"/>
                    <a:pt x="5773" y="16158"/>
                  </a:cubicBezTo>
                  <a:cubicBezTo>
                    <a:pt x="5775" y="16124"/>
                    <a:pt x="5774" y="16091"/>
                    <a:pt x="5757" y="16061"/>
                  </a:cubicBezTo>
                  <a:cubicBezTo>
                    <a:pt x="5734" y="16020"/>
                    <a:pt x="5720" y="15974"/>
                    <a:pt x="5687" y="15941"/>
                  </a:cubicBezTo>
                  <a:cubicBezTo>
                    <a:pt x="5695" y="15930"/>
                    <a:pt x="5703" y="15927"/>
                    <a:pt x="5710" y="15933"/>
                  </a:cubicBezTo>
                  <a:cubicBezTo>
                    <a:pt x="5766" y="15975"/>
                    <a:pt x="5826" y="16014"/>
                    <a:pt x="5857" y="16082"/>
                  </a:cubicBezTo>
                  <a:cubicBezTo>
                    <a:pt x="5865" y="16100"/>
                    <a:pt x="5876" y="16129"/>
                    <a:pt x="5899" y="16116"/>
                  </a:cubicBezTo>
                  <a:cubicBezTo>
                    <a:pt x="5924" y="16103"/>
                    <a:pt x="5908" y="16076"/>
                    <a:pt x="5897" y="16056"/>
                  </a:cubicBezTo>
                  <a:cubicBezTo>
                    <a:pt x="5894" y="16050"/>
                    <a:pt x="5890" y="16045"/>
                    <a:pt x="5887" y="16040"/>
                  </a:cubicBezTo>
                  <a:cubicBezTo>
                    <a:pt x="5882" y="16030"/>
                    <a:pt x="5880" y="16019"/>
                    <a:pt x="5891" y="16013"/>
                  </a:cubicBezTo>
                  <a:cubicBezTo>
                    <a:pt x="5900" y="16009"/>
                    <a:pt x="5907" y="16015"/>
                    <a:pt x="5913" y="16022"/>
                  </a:cubicBezTo>
                  <a:cubicBezTo>
                    <a:pt x="5922" y="16035"/>
                    <a:pt x="5931" y="16049"/>
                    <a:pt x="5941" y="16063"/>
                  </a:cubicBezTo>
                  <a:cubicBezTo>
                    <a:pt x="5948" y="16072"/>
                    <a:pt x="5957" y="16076"/>
                    <a:pt x="5968" y="16071"/>
                  </a:cubicBezTo>
                  <a:cubicBezTo>
                    <a:pt x="5976" y="16067"/>
                    <a:pt x="5978" y="16058"/>
                    <a:pt x="5979" y="16050"/>
                  </a:cubicBezTo>
                  <a:cubicBezTo>
                    <a:pt x="5983" y="15991"/>
                    <a:pt x="5936" y="15918"/>
                    <a:pt x="5880" y="15897"/>
                  </a:cubicBezTo>
                  <a:cubicBezTo>
                    <a:pt x="5864" y="15891"/>
                    <a:pt x="5847" y="15889"/>
                    <a:pt x="5833" y="15881"/>
                  </a:cubicBezTo>
                  <a:cubicBezTo>
                    <a:pt x="5802" y="15864"/>
                    <a:pt x="5799" y="15829"/>
                    <a:pt x="5830" y="15814"/>
                  </a:cubicBezTo>
                  <a:cubicBezTo>
                    <a:pt x="5863" y="15798"/>
                    <a:pt x="5856" y="15780"/>
                    <a:pt x="5838" y="15762"/>
                  </a:cubicBezTo>
                  <a:cubicBezTo>
                    <a:pt x="5816" y="15740"/>
                    <a:pt x="5821" y="15721"/>
                    <a:pt x="5840" y="15704"/>
                  </a:cubicBezTo>
                  <a:cubicBezTo>
                    <a:pt x="5863" y="15683"/>
                    <a:pt x="5894" y="15683"/>
                    <a:pt x="5914" y="15701"/>
                  </a:cubicBezTo>
                  <a:cubicBezTo>
                    <a:pt x="5928" y="15714"/>
                    <a:pt x="5934" y="15732"/>
                    <a:pt x="5941" y="15749"/>
                  </a:cubicBezTo>
                  <a:cubicBezTo>
                    <a:pt x="5951" y="15771"/>
                    <a:pt x="5965" y="15769"/>
                    <a:pt x="5981" y="15756"/>
                  </a:cubicBezTo>
                  <a:cubicBezTo>
                    <a:pt x="5986" y="15753"/>
                    <a:pt x="5990" y="15748"/>
                    <a:pt x="5994" y="15743"/>
                  </a:cubicBezTo>
                  <a:cubicBezTo>
                    <a:pt x="6005" y="15731"/>
                    <a:pt x="6012" y="15711"/>
                    <a:pt x="6032" y="15715"/>
                  </a:cubicBezTo>
                  <a:cubicBezTo>
                    <a:pt x="6056" y="15720"/>
                    <a:pt x="6059" y="15744"/>
                    <a:pt x="6065" y="15763"/>
                  </a:cubicBezTo>
                  <a:cubicBezTo>
                    <a:pt x="6074" y="15790"/>
                    <a:pt x="6063" y="15813"/>
                    <a:pt x="6050" y="15834"/>
                  </a:cubicBezTo>
                  <a:cubicBezTo>
                    <a:pt x="6024" y="15879"/>
                    <a:pt x="6029" y="15927"/>
                    <a:pt x="6035" y="15974"/>
                  </a:cubicBezTo>
                  <a:cubicBezTo>
                    <a:pt x="6037" y="15989"/>
                    <a:pt x="6045" y="16003"/>
                    <a:pt x="6062" y="16005"/>
                  </a:cubicBezTo>
                  <a:cubicBezTo>
                    <a:pt x="6081" y="16008"/>
                    <a:pt x="6086" y="15993"/>
                    <a:pt x="6090" y="15979"/>
                  </a:cubicBezTo>
                  <a:cubicBezTo>
                    <a:pt x="6098" y="15956"/>
                    <a:pt x="6105" y="15918"/>
                    <a:pt x="6130" y="15926"/>
                  </a:cubicBezTo>
                  <a:cubicBezTo>
                    <a:pt x="6163" y="15936"/>
                    <a:pt x="6139" y="15972"/>
                    <a:pt x="6136" y="15997"/>
                  </a:cubicBezTo>
                  <a:cubicBezTo>
                    <a:pt x="6133" y="16023"/>
                    <a:pt x="6123" y="16049"/>
                    <a:pt x="6116" y="16075"/>
                  </a:cubicBezTo>
                  <a:cubicBezTo>
                    <a:pt x="6111" y="16096"/>
                    <a:pt x="6110" y="16117"/>
                    <a:pt x="6118" y="16137"/>
                  </a:cubicBezTo>
                  <a:cubicBezTo>
                    <a:pt x="6122" y="16149"/>
                    <a:pt x="6131" y="16159"/>
                    <a:pt x="6145" y="16158"/>
                  </a:cubicBezTo>
                  <a:cubicBezTo>
                    <a:pt x="6159" y="16157"/>
                    <a:pt x="6170" y="16147"/>
                    <a:pt x="6169" y="16134"/>
                  </a:cubicBezTo>
                  <a:cubicBezTo>
                    <a:pt x="6166" y="16086"/>
                    <a:pt x="6201" y="16059"/>
                    <a:pt x="6227" y="16028"/>
                  </a:cubicBezTo>
                  <a:cubicBezTo>
                    <a:pt x="6233" y="16020"/>
                    <a:pt x="6240" y="16010"/>
                    <a:pt x="6253" y="16017"/>
                  </a:cubicBezTo>
                  <a:cubicBezTo>
                    <a:pt x="6263" y="16023"/>
                    <a:pt x="6265" y="16034"/>
                    <a:pt x="6264" y="16044"/>
                  </a:cubicBezTo>
                  <a:cubicBezTo>
                    <a:pt x="6263" y="16061"/>
                    <a:pt x="6259" y="16077"/>
                    <a:pt x="6258" y="16094"/>
                  </a:cubicBezTo>
                  <a:cubicBezTo>
                    <a:pt x="6257" y="16139"/>
                    <a:pt x="6268" y="16167"/>
                    <a:pt x="6291" y="16166"/>
                  </a:cubicBezTo>
                  <a:cubicBezTo>
                    <a:pt x="6324" y="16165"/>
                    <a:pt x="6335" y="16137"/>
                    <a:pt x="6342" y="16111"/>
                  </a:cubicBezTo>
                  <a:cubicBezTo>
                    <a:pt x="6355" y="16063"/>
                    <a:pt x="6379" y="16028"/>
                    <a:pt x="6432" y="16020"/>
                  </a:cubicBezTo>
                  <a:cubicBezTo>
                    <a:pt x="6440" y="16019"/>
                    <a:pt x="6448" y="16016"/>
                    <a:pt x="6451" y="16006"/>
                  </a:cubicBezTo>
                  <a:cubicBezTo>
                    <a:pt x="6455" y="15994"/>
                    <a:pt x="6447" y="15985"/>
                    <a:pt x="6437" y="15982"/>
                  </a:cubicBezTo>
                  <a:cubicBezTo>
                    <a:pt x="6411" y="15975"/>
                    <a:pt x="6404" y="15953"/>
                    <a:pt x="6396" y="15932"/>
                  </a:cubicBezTo>
                  <a:cubicBezTo>
                    <a:pt x="6380" y="15892"/>
                    <a:pt x="6409" y="15856"/>
                    <a:pt x="6451" y="15862"/>
                  </a:cubicBezTo>
                  <a:cubicBezTo>
                    <a:pt x="6468" y="15864"/>
                    <a:pt x="6484" y="15869"/>
                    <a:pt x="6500" y="15872"/>
                  </a:cubicBezTo>
                  <a:cubicBezTo>
                    <a:pt x="6514" y="15874"/>
                    <a:pt x="6531" y="15877"/>
                    <a:pt x="6540" y="15864"/>
                  </a:cubicBezTo>
                  <a:cubicBezTo>
                    <a:pt x="6551" y="15848"/>
                    <a:pt x="6543" y="15831"/>
                    <a:pt x="6533" y="15818"/>
                  </a:cubicBezTo>
                  <a:cubicBezTo>
                    <a:pt x="6523" y="15804"/>
                    <a:pt x="6515" y="15790"/>
                    <a:pt x="6519" y="15772"/>
                  </a:cubicBezTo>
                  <a:cubicBezTo>
                    <a:pt x="6521" y="15764"/>
                    <a:pt x="6522" y="15755"/>
                    <a:pt x="6531" y="15751"/>
                  </a:cubicBezTo>
                  <a:cubicBezTo>
                    <a:pt x="6542" y="15745"/>
                    <a:pt x="6550" y="15751"/>
                    <a:pt x="6557" y="15760"/>
                  </a:cubicBezTo>
                  <a:cubicBezTo>
                    <a:pt x="6597" y="15804"/>
                    <a:pt x="6626" y="15853"/>
                    <a:pt x="6646" y="15909"/>
                  </a:cubicBezTo>
                  <a:cubicBezTo>
                    <a:pt x="6650" y="15919"/>
                    <a:pt x="6654" y="15928"/>
                    <a:pt x="6657" y="15938"/>
                  </a:cubicBezTo>
                  <a:cubicBezTo>
                    <a:pt x="6664" y="15956"/>
                    <a:pt x="6673" y="15978"/>
                    <a:pt x="6693" y="15975"/>
                  </a:cubicBezTo>
                  <a:cubicBezTo>
                    <a:pt x="6721" y="15972"/>
                    <a:pt x="6707" y="15946"/>
                    <a:pt x="6709" y="15929"/>
                  </a:cubicBezTo>
                  <a:cubicBezTo>
                    <a:pt x="6713" y="15894"/>
                    <a:pt x="6717" y="15859"/>
                    <a:pt x="6741" y="15830"/>
                  </a:cubicBezTo>
                  <a:cubicBezTo>
                    <a:pt x="6751" y="15818"/>
                    <a:pt x="6762" y="15809"/>
                    <a:pt x="6779" y="15814"/>
                  </a:cubicBezTo>
                  <a:cubicBezTo>
                    <a:pt x="6798" y="15820"/>
                    <a:pt x="6795" y="15836"/>
                    <a:pt x="6793" y="15850"/>
                  </a:cubicBezTo>
                  <a:cubicBezTo>
                    <a:pt x="6791" y="15859"/>
                    <a:pt x="6792" y="15867"/>
                    <a:pt x="6789" y="15875"/>
                  </a:cubicBezTo>
                  <a:cubicBezTo>
                    <a:pt x="6756" y="15952"/>
                    <a:pt x="6802" y="16011"/>
                    <a:pt x="6833" y="16073"/>
                  </a:cubicBezTo>
                  <a:cubicBezTo>
                    <a:pt x="6840" y="16086"/>
                    <a:pt x="6853" y="16095"/>
                    <a:pt x="6874" y="16091"/>
                  </a:cubicBezTo>
                  <a:cubicBezTo>
                    <a:pt x="6866" y="16065"/>
                    <a:pt x="6855" y="16041"/>
                    <a:pt x="6836" y="16022"/>
                  </a:cubicBezTo>
                  <a:cubicBezTo>
                    <a:pt x="6827" y="16012"/>
                    <a:pt x="6822" y="16000"/>
                    <a:pt x="6834" y="15990"/>
                  </a:cubicBezTo>
                  <a:cubicBezTo>
                    <a:pt x="6844" y="15981"/>
                    <a:pt x="6853" y="15990"/>
                    <a:pt x="6860" y="15998"/>
                  </a:cubicBezTo>
                  <a:cubicBezTo>
                    <a:pt x="6897" y="16039"/>
                    <a:pt x="6948" y="16068"/>
                    <a:pt x="6973" y="16121"/>
                  </a:cubicBezTo>
                  <a:cubicBezTo>
                    <a:pt x="6985" y="16147"/>
                    <a:pt x="7012" y="16143"/>
                    <a:pt x="7022" y="16114"/>
                  </a:cubicBezTo>
                  <a:cubicBezTo>
                    <a:pt x="7035" y="16080"/>
                    <a:pt x="7050" y="16049"/>
                    <a:pt x="7069" y="16019"/>
                  </a:cubicBezTo>
                  <a:cubicBezTo>
                    <a:pt x="7083" y="15998"/>
                    <a:pt x="7095" y="15975"/>
                    <a:pt x="7124" y="15970"/>
                  </a:cubicBezTo>
                  <a:cubicBezTo>
                    <a:pt x="7139" y="15986"/>
                    <a:pt x="7127" y="16001"/>
                    <a:pt x="7123" y="16016"/>
                  </a:cubicBezTo>
                  <a:cubicBezTo>
                    <a:pt x="7109" y="16068"/>
                    <a:pt x="7116" y="16118"/>
                    <a:pt x="7134" y="16168"/>
                  </a:cubicBezTo>
                  <a:cubicBezTo>
                    <a:pt x="7138" y="16180"/>
                    <a:pt x="7147" y="16192"/>
                    <a:pt x="7162" y="16188"/>
                  </a:cubicBezTo>
                  <a:cubicBezTo>
                    <a:pt x="7172" y="16186"/>
                    <a:pt x="7176" y="16174"/>
                    <a:pt x="7177" y="16163"/>
                  </a:cubicBezTo>
                  <a:cubicBezTo>
                    <a:pt x="7178" y="16144"/>
                    <a:pt x="7183" y="16127"/>
                    <a:pt x="7194" y="16111"/>
                  </a:cubicBezTo>
                  <a:cubicBezTo>
                    <a:pt x="7225" y="16067"/>
                    <a:pt x="7242" y="16019"/>
                    <a:pt x="7235" y="15964"/>
                  </a:cubicBezTo>
                  <a:cubicBezTo>
                    <a:pt x="7234" y="15954"/>
                    <a:pt x="7233" y="15941"/>
                    <a:pt x="7246" y="15938"/>
                  </a:cubicBezTo>
                  <a:cubicBezTo>
                    <a:pt x="7261" y="15934"/>
                    <a:pt x="7270" y="15944"/>
                    <a:pt x="7276" y="15955"/>
                  </a:cubicBezTo>
                  <a:cubicBezTo>
                    <a:pt x="7295" y="15996"/>
                    <a:pt x="7318" y="16035"/>
                    <a:pt x="7297" y="16085"/>
                  </a:cubicBezTo>
                  <a:cubicBezTo>
                    <a:pt x="7289" y="16105"/>
                    <a:pt x="7270" y="16140"/>
                    <a:pt x="7299" y="16153"/>
                  </a:cubicBezTo>
                  <a:cubicBezTo>
                    <a:pt x="7335" y="16170"/>
                    <a:pt x="7336" y="16125"/>
                    <a:pt x="7353" y="16108"/>
                  </a:cubicBezTo>
                  <a:cubicBezTo>
                    <a:pt x="7354" y="16107"/>
                    <a:pt x="7356" y="16106"/>
                    <a:pt x="7358" y="16105"/>
                  </a:cubicBezTo>
                  <a:cubicBezTo>
                    <a:pt x="7361" y="16106"/>
                    <a:pt x="7366" y="16106"/>
                    <a:pt x="7368" y="16109"/>
                  </a:cubicBezTo>
                  <a:cubicBezTo>
                    <a:pt x="7379" y="16124"/>
                    <a:pt x="7378" y="16154"/>
                    <a:pt x="7408" y="16148"/>
                  </a:cubicBezTo>
                  <a:cubicBezTo>
                    <a:pt x="7441" y="16142"/>
                    <a:pt x="7428" y="16112"/>
                    <a:pt x="7431" y="16092"/>
                  </a:cubicBezTo>
                  <a:cubicBezTo>
                    <a:pt x="7436" y="16050"/>
                    <a:pt x="7410" y="16017"/>
                    <a:pt x="7398" y="15979"/>
                  </a:cubicBezTo>
                  <a:cubicBezTo>
                    <a:pt x="7393" y="15962"/>
                    <a:pt x="7374" y="15942"/>
                    <a:pt x="7393" y="15929"/>
                  </a:cubicBezTo>
                  <a:cubicBezTo>
                    <a:pt x="7416" y="15912"/>
                    <a:pt x="7435" y="15931"/>
                    <a:pt x="7450" y="15950"/>
                  </a:cubicBezTo>
                  <a:cubicBezTo>
                    <a:pt x="7464" y="15968"/>
                    <a:pt x="7476" y="15987"/>
                    <a:pt x="7490" y="16005"/>
                  </a:cubicBezTo>
                  <a:cubicBezTo>
                    <a:pt x="7496" y="16012"/>
                    <a:pt x="7505" y="16013"/>
                    <a:pt x="7513" y="16009"/>
                  </a:cubicBezTo>
                  <a:cubicBezTo>
                    <a:pt x="7517" y="16006"/>
                    <a:pt x="7521" y="15998"/>
                    <a:pt x="7521" y="15993"/>
                  </a:cubicBezTo>
                  <a:cubicBezTo>
                    <a:pt x="7522" y="15965"/>
                    <a:pt x="7516" y="15940"/>
                    <a:pt x="7492" y="15921"/>
                  </a:cubicBezTo>
                  <a:cubicBezTo>
                    <a:pt x="7464" y="15899"/>
                    <a:pt x="7436" y="15878"/>
                    <a:pt x="7402" y="15864"/>
                  </a:cubicBezTo>
                  <a:cubicBezTo>
                    <a:pt x="7366" y="15850"/>
                    <a:pt x="7339" y="15825"/>
                    <a:pt x="7322" y="15790"/>
                  </a:cubicBezTo>
                  <a:cubicBezTo>
                    <a:pt x="7309" y="15764"/>
                    <a:pt x="7319" y="15750"/>
                    <a:pt x="7347" y="15754"/>
                  </a:cubicBezTo>
                  <a:cubicBezTo>
                    <a:pt x="7382" y="15758"/>
                    <a:pt x="7416" y="15768"/>
                    <a:pt x="7449" y="15782"/>
                  </a:cubicBezTo>
                  <a:cubicBezTo>
                    <a:pt x="7463" y="15788"/>
                    <a:pt x="7478" y="15794"/>
                    <a:pt x="7488" y="15777"/>
                  </a:cubicBezTo>
                  <a:cubicBezTo>
                    <a:pt x="7495" y="15763"/>
                    <a:pt x="7487" y="15749"/>
                    <a:pt x="7476" y="15738"/>
                  </a:cubicBezTo>
                  <a:cubicBezTo>
                    <a:pt x="7458" y="15721"/>
                    <a:pt x="7439" y="15705"/>
                    <a:pt x="7416" y="15695"/>
                  </a:cubicBezTo>
                  <a:cubicBezTo>
                    <a:pt x="7400" y="15688"/>
                    <a:pt x="7386" y="15680"/>
                    <a:pt x="7371" y="15672"/>
                  </a:cubicBezTo>
                  <a:cubicBezTo>
                    <a:pt x="7349" y="15661"/>
                    <a:pt x="7342" y="15644"/>
                    <a:pt x="7351" y="15621"/>
                  </a:cubicBezTo>
                  <a:cubicBezTo>
                    <a:pt x="7361" y="15597"/>
                    <a:pt x="7374" y="15580"/>
                    <a:pt x="7403" y="15591"/>
                  </a:cubicBezTo>
                  <a:cubicBezTo>
                    <a:pt x="7411" y="15594"/>
                    <a:pt x="7419" y="15597"/>
                    <a:pt x="7427" y="15597"/>
                  </a:cubicBezTo>
                  <a:cubicBezTo>
                    <a:pt x="7446" y="15597"/>
                    <a:pt x="7456" y="15582"/>
                    <a:pt x="7449" y="15563"/>
                  </a:cubicBezTo>
                  <a:cubicBezTo>
                    <a:pt x="7447" y="15557"/>
                    <a:pt x="7443" y="15552"/>
                    <a:pt x="7440" y="15547"/>
                  </a:cubicBezTo>
                  <a:cubicBezTo>
                    <a:pt x="7422" y="15508"/>
                    <a:pt x="7424" y="15488"/>
                    <a:pt x="7450" y="15471"/>
                  </a:cubicBezTo>
                  <a:cubicBezTo>
                    <a:pt x="7479" y="15452"/>
                    <a:pt x="7525" y="15459"/>
                    <a:pt x="7546" y="15487"/>
                  </a:cubicBezTo>
                  <a:cubicBezTo>
                    <a:pt x="7551" y="15493"/>
                    <a:pt x="7554" y="15501"/>
                    <a:pt x="7557" y="15509"/>
                  </a:cubicBezTo>
                  <a:cubicBezTo>
                    <a:pt x="7567" y="15536"/>
                    <a:pt x="7584" y="15543"/>
                    <a:pt x="7611" y="15530"/>
                  </a:cubicBezTo>
                  <a:cubicBezTo>
                    <a:pt x="7619" y="15526"/>
                    <a:pt x="7631" y="15526"/>
                    <a:pt x="7641" y="15528"/>
                  </a:cubicBezTo>
                  <a:cubicBezTo>
                    <a:pt x="7668" y="15532"/>
                    <a:pt x="7677" y="15545"/>
                    <a:pt x="7671" y="15571"/>
                  </a:cubicBezTo>
                  <a:cubicBezTo>
                    <a:pt x="7666" y="15590"/>
                    <a:pt x="7658" y="15606"/>
                    <a:pt x="7647" y="15622"/>
                  </a:cubicBezTo>
                  <a:cubicBezTo>
                    <a:pt x="7597" y="15692"/>
                    <a:pt x="7598" y="15770"/>
                    <a:pt x="7615" y="15849"/>
                  </a:cubicBezTo>
                  <a:cubicBezTo>
                    <a:pt x="7622" y="15883"/>
                    <a:pt x="7642" y="15888"/>
                    <a:pt x="7668" y="15864"/>
                  </a:cubicBezTo>
                  <a:cubicBezTo>
                    <a:pt x="7687" y="15848"/>
                    <a:pt x="7698" y="15824"/>
                    <a:pt x="7721" y="15812"/>
                  </a:cubicBezTo>
                  <a:cubicBezTo>
                    <a:pt x="7733" y="15806"/>
                    <a:pt x="7746" y="15792"/>
                    <a:pt x="7760" y="15804"/>
                  </a:cubicBezTo>
                  <a:cubicBezTo>
                    <a:pt x="7773" y="15815"/>
                    <a:pt x="7771" y="15833"/>
                    <a:pt x="7765" y="15845"/>
                  </a:cubicBezTo>
                  <a:cubicBezTo>
                    <a:pt x="7741" y="15889"/>
                    <a:pt x="7725" y="15938"/>
                    <a:pt x="7689" y="15974"/>
                  </a:cubicBezTo>
                  <a:cubicBezTo>
                    <a:pt x="7664" y="15999"/>
                    <a:pt x="7664" y="16030"/>
                    <a:pt x="7669" y="16061"/>
                  </a:cubicBezTo>
                  <a:cubicBezTo>
                    <a:pt x="7672" y="16074"/>
                    <a:pt x="7680" y="16085"/>
                    <a:pt x="7694" y="16085"/>
                  </a:cubicBezTo>
                  <a:cubicBezTo>
                    <a:pt x="7707" y="16085"/>
                    <a:pt x="7713" y="16077"/>
                    <a:pt x="7716" y="16066"/>
                  </a:cubicBezTo>
                  <a:cubicBezTo>
                    <a:pt x="7724" y="16047"/>
                    <a:pt x="7729" y="16027"/>
                    <a:pt x="7748" y="16015"/>
                  </a:cubicBezTo>
                  <a:cubicBezTo>
                    <a:pt x="7774" y="16029"/>
                    <a:pt x="7763" y="16052"/>
                    <a:pt x="7763" y="16071"/>
                  </a:cubicBezTo>
                  <a:cubicBezTo>
                    <a:pt x="7763" y="16089"/>
                    <a:pt x="7756" y="16108"/>
                    <a:pt x="7755" y="16126"/>
                  </a:cubicBezTo>
                  <a:cubicBezTo>
                    <a:pt x="7755" y="16147"/>
                    <a:pt x="7771" y="16155"/>
                    <a:pt x="7790" y="16146"/>
                  </a:cubicBezTo>
                  <a:cubicBezTo>
                    <a:pt x="7816" y="16133"/>
                    <a:pt x="7832" y="16105"/>
                    <a:pt x="7829" y="16074"/>
                  </a:cubicBezTo>
                  <a:cubicBezTo>
                    <a:pt x="7825" y="16045"/>
                    <a:pt x="7817" y="16017"/>
                    <a:pt x="7806" y="15990"/>
                  </a:cubicBezTo>
                  <a:cubicBezTo>
                    <a:pt x="7795" y="15964"/>
                    <a:pt x="7779" y="15939"/>
                    <a:pt x="7782" y="15905"/>
                  </a:cubicBezTo>
                  <a:cubicBezTo>
                    <a:pt x="7810" y="15901"/>
                    <a:pt x="7824" y="15922"/>
                    <a:pt x="7841" y="15934"/>
                  </a:cubicBezTo>
                  <a:cubicBezTo>
                    <a:pt x="7851" y="15941"/>
                    <a:pt x="7858" y="15952"/>
                    <a:pt x="7868" y="15960"/>
                  </a:cubicBezTo>
                  <a:cubicBezTo>
                    <a:pt x="7883" y="15975"/>
                    <a:pt x="7897" y="16006"/>
                    <a:pt x="7922" y="15988"/>
                  </a:cubicBezTo>
                  <a:cubicBezTo>
                    <a:pt x="7942" y="15975"/>
                    <a:pt x="7921" y="15950"/>
                    <a:pt x="7918" y="15931"/>
                  </a:cubicBezTo>
                  <a:cubicBezTo>
                    <a:pt x="7914" y="15913"/>
                    <a:pt x="7903" y="15901"/>
                    <a:pt x="7892" y="15889"/>
                  </a:cubicBezTo>
                  <a:cubicBezTo>
                    <a:pt x="7874" y="15868"/>
                    <a:pt x="7863" y="15844"/>
                    <a:pt x="7863" y="15815"/>
                  </a:cubicBezTo>
                  <a:cubicBezTo>
                    <a:pt x="7863" y="15771"/>
                    <a:pt x="7840" y="15742"/>
                    <a:pt x="7802" y="15721"/>
                  </a:cubicBezTo>
                  <a:cubicBezTo>
                    <a:pt x="7781" y="15709"/>
                    <a:pt x="7759" y="15695"/>
                    <a:pt x="7740" y="15680"/>
                  </a:cubicBezTo>
                  <a:cubicBezTo>
                    <a:pt x="7715" y="15661"/>
                    <a:pt x="7716" y="15645"/>
                    <a:pt x="7739" y="15623"/>
                  </a:cubicBezTo>
                  <a:cubicBezTo>
                    <a:pt x="7743" y="15619"/>
                    <a:pt x="7748" y="15613"/>
                    <a:pt x="7753" y="15612"/>
                  </a:cubicBezTo>
                  <a:cubicBezTo>
                    <a:pt x="7792" y="15600"/>
                    <a:pt x="7809" y="15576"/>
                    <a:pt x="7810" y="15534"/>
                  </a:cubicBezTo>
                  <a:cubicBezTo>
                    <a:pt x="7810" y="15502"/>
                    <a:pt x="7835" y="15483"/>
                    <a:pt x="7863" y="15483"/>
                  </a:cubicBezTo>
                  <a:cubicBezTo>
                    <a:pt x="7893" y="15483"/>
                    <a:pt x="7916" y="15493"/>
                    <a:pt x="7922" y="15526"/>
                  </a:cubicBezTo>
                  <a:cubicBezTo>
                    <a:pt x="7923" y="15532"/>
                    <a:pt x="7924" y="15539"/>
                    <a:pt x="7927" y="15544"/>
                  </a:cubicBezTo>
                  <a:cubicBezTo>
                    <a:pt x="7939" y="15571"/>
                    <a:pt x="7951" y="15575"/>
                    <a:pt x="7972" y="15553"/>
                  </a:cubicBezTo>
                  <a:cubicBezTo>
                    <a:pt x="7987" y="15537"/>
                    <a:pt x="8001" y="15531"/>
                    <a:pt x="8021" y="15537"/>
                  </a:cubicBezTo>
                  <a:cubicBezTo>
                    <a:pt x="8060" y="15549"/>
                    <a:pt x="8070" y="15573"/>
                    <a:pt x="8048" y="15608"/>
                  </a:cubicBezTo>
                  <a:cubicBezTo>
                    <a:pt x="8028" y="15641"/>
                    <a:pt x="8006" y="15674"/>
                    <a:pt x="7985" y="15708"/>
                  </a:cubicBezTo>
                  <a:cubicBezTo>
                    <a:pt x="7958" y="15749"/>
                    <a:pt x="7953" y="15793"/>
                    <a:pt x="7975" y="15838"/>
                  </a:cubicBezTo>
                  <a:cubicBezTo>
                    <a:pt x="7982" y="15852"/>
                    <a:pt x="7992" y="15862"/>
                    <a:pt x="8009" y="15861"/>
                  </a:cubicBezTo>
                  <a:cubicBezTo>
                    <a:pt x="8024" y="15861"/>
                    <a:pt x="8029" y="15849"/>
                    <a:pt x="8033" y="15836"/>
                  </a:cubicBezTo>
                  <a:cubicBezTo>
                    <a:pt x="8039" y="15816"/>
                    <a:pt x="8046" y="15797"/>
                    <a:pt x="8063" y="15782"/>
                  </a:cubicBezTo>
                  <a:cubicBezTo>
                    <a:pt x="8083" y="15765"/>
                    <a:pt x="8106" y="15772"/>
                    <a:pt x="8107" y="15799"/>
                  </a:cubicBezTo>
                  <a:cubicBezTo>
                    <a:pt x="8108" y="15850"/>
                    <a:pt x="8118" y="15903"/>
                    <a:pt x="8095" y="15953"/>
                  </a:cubicBezTo>
                  <a:cubicBezTo>
                    <a:pt x="8092" y="15960"/>
                    <a:pt x="8090" y="15969"/>
                    <a:pt x="8087" y="15977"/>
                  </a:cubicBezTo>
                  <a:cubicBezTo>
                    <a:pt x="8082" y="15991"/>
                    <a:pt x="8081" y="16006"/>
                    <a:pt x="8096" y="16015"/>
                  </a:cubicBezTo>
                  <a:cubicBezTo>
                    <a:pt x="8110" y="16023"/>
                    <a:pt x="8120" y="16013"/>
                    <a:pt x="8129" y="16004"/>
                  </a:cubicBezTo>
                  <a:cubicBezTo>
                    <a:pt x="8144" y="15990"/>
                    <a:pt x="8160" y="15976"/>
                    <a:pt x="8179" y="15968"/>
                  </a:cubicBezTo>
                  <a:cubicBezTo>
                    <a:pt x="8190" y="15963"/>
                    <a:pt x="8202" y="15956"/>
                    <a:pt x="8213" y="15967"/>
                  </a:cubicBezTo>
                  <a:cubicBezTo>
                    <a:pt x="8222" y="15976"/>
                    <a:pt x="8216" y="15986"/>
                    <a:pt x="8211" y="15995"/>
                  </a:cubicBezTo>
                  <a:cubicBezTo>
                    <a:pt x="8197" y="16020"/>
                    <a:pt x="8198" y="16047"/>
                    <a:pt x="8194" y="16074"/>
                  </a:cubicBezTo>
                  <a:cubicBezTo>
                    <a:pt x="8189" y="16115"/>
                    <a:pt x="8212" y="16141"/>
                    <a:pt x="8236" y="16167"/>
                  </a:cubicBezTo>
                  <a:cubicBezTo>
                    <a:pt x="8246" y="16178"/>
                    <a:pt x="8261" y="16185"/>
                    <a:pt x="8275" y="16175"/>
                  </a:cubicBezTo>
                  <a:cubicBezTo>
                    <a:pt x="8288" y="16166"/>
                    <a:pt x="8281" y="16153"/>
                    <a:pt x="8277" y="16141"/>
                  </a:cubicBezTo>
                  <a:cubicBezTo>
                    <a:pt x="8269" y="16115"/>
                    <a:pt x="8260" y="16090"/>
                    <a:pt x="8252" y="16064"/>
                  </a:cubicBezTo>
                  <a:cubicBezTo>
                    <a:pt x="8249" y="16053"/>
                    <a:pt x="8252" y="16043"/>
                    <a:pt x="8263" y="16038"/>
                  </a:cubicBezTo>
                  <a:cubicBezTo>
                    <a:pt x="8276" y="16031"/>
                    <a:pt x="8280" y="16042"/>
                    <a:pt x="8287" y="16050"/>
                  </a:cubicBezTo>
                  <a:cubicBezTo>
                    <a:pt x="8302" y="16070"/>
                    <a:pt x="8317" y="16090"/>
                    <a:pt x="8333" y="16108"/>
                  </a:cubicBezTo>
                  <a:cubicBezTo>
                    <a:pt x="8342" y="16118"/>
                    <a:pt x="8354" y="16123"/>
                    <a:pt x="8367" y="16116"/>
                  </a:cubicBezTo>
                  <a:cubicBezTo>
                    <a:pt x="8381" y="16109"/>
                    <a:pt x="8380" y="16096"/>
                    <a:pt x="8378" y="16084"/>
                  </a:cubicBezTo>
                  <a:cubicBezTo>
                    <a:pt x="8375" y="16059"/>
                    <a:pt x="8369" y="16035"/>
                    <a:pt x="8368" y="16010"/>
                  </a:cubicBezTo>
                  <a:cubicBezTo>
                    <a:pt x="8366" y="15985"/>
                    <a:pt x="8366" y="15958"/>
                    <a:pt x="8392" y="15944"/>
                  </a:cubicBezTo>
                  <a:cubicBezTo>
                    <a:pt x="8418" y="15929"/>
                    <a:pt x="8397" y="15900"/>
                    <a:pt x="8411" y="15882"/>
                  </a:cubicBezTo>
                  <a:cubicBezTo>
                    <a:pt x="8426" y="15878"/>
                    <a:pt x="8437" y="15887"/>
                    <a:pt x="8445" y="15895"/>
                  </a:cubicBezTo>
                  <a:cubicBezTo>
                    <a:pt x="8473" y="15923"/>
                    <a:pt x="8508" y="15935"/>
                    <a:pt x="8544" y="15945"/>
                  </a:cubicBezTo>
                  <a:cubicBezTo>
                    <a:pt x="8588" y="15957"/>
                    <a:pt x="8614" y="15988"/>
                    <a:pt x="8628" y="16030"/>
                  </a:cubicBezTo>
                  <a:cubicBezTo>
                    <a:pt x="8645" y="16078"/>
                    <a:pt x="8646" y="16078"/>
                    <a:pt x="8687" y="16046"/>
                  </a:cubicBezTo>
                  <a:cubicBezTo>
                    <a:pt x="8690" y="16043"/>
                    <a:pt x="8694" y="16042"/>
                    <a:pt x="8698" y="16040"/>
                  </a:cubicBezTo>
                  <a:cubicBezTo>
                    <a:pt x="8716" y="16049"/>
                    <a:pt x="8715" y="16067"/>
                    <a:pt x="8717" y="16083"/>
                  </a:cubicBezTo>
                  <a:cubicBezTo>
                    <a:pt x="8721" y="16124"/>
                    <a:pt x="8751" y="16148"/>
                    <a:pt x="8777" y="16175"/>
                  </a:cubicBezTo>
                  <a:cubicBezTo>
                    <a:pt x="8785" y="16183"/>
                    <a:pt x="8796" y="16186"/>
                    <a:pt x="8805" y="16179"/>
                  </a:cubicBezTo>
                  <a:cubicBezTo>
                    <a:pt x="8814" y="16172"/>
                    <a:pt x="8816" y="16161"/>
                    <a:pt x="8813" y="16151"/>
                  </a:cubicBezTo>
                  <a:cubicBezTo>
                    <a:pt x="8809" y="16139"/>
                    <a:pt x="8803" y="16127"/>
                    <a:pt x="8799" y="16116"/>
                  </a:cubicBezTo>
                  <a:cubicBezTo>
                    <a:pt x="8794" y="16100"/>
                    <a:pt x="8785" y="16084"/>
                    <a:pt x="8785" y="16068"/>
                  </a:cubicBezTo>
                  <a:cubicBezTo>
                    <a:pt x="8785" y="16047"/>
                    <a:pt x="8771" y="16015"/>
                    <a:pt x="8795" y="16006"/>
                  </a:cubicBezTo>
                  <a:cubicBezTo>
                    <a:pt x="8822" y="15996"/>
                    <a:pt x="8828" y="16030"/>
                    <a:pt x="8840" y="16048"/>
                  </a:cubicBezTo>
                  <a:cubicBezTo>
                    <a:pt x="8857" y="16075"/>
                    <a:pt x="8872" y="16102"/>
                    <a:pt x="8897" y="16122"/>
                  </a:cubicBezTo>
                  <a:cubicBezTo>
                    <a:pt x="8906" y="16130"/>
                    <a:pt x="8917" y="16139"/>
                    <a:pt x="8930" y="16133"/>
                  </a:cubicBezTo>
                  <a:cubicBezTo>
                    <a:pt x="8944" y="16126"/>
                    <a:pt x="8944" y="16113"/>
                    <a:pt x="8941" y="16100"/>
                  </a:cubicBezTo>
                  <a:cubicBezTo>
                    <a:pt x="8931" y="16062"/>
                    <a:pt x="8938" y="16018"/>
                    <a:pt x="8887" y="15997"/>
                  </a:cubicBezTo>
                  <a:cubicBezTo>
                    <a:pt x="8859" y="15986"/>
                    <a:pt x="8862" y="15947"/>
                    <a:pt x="8848" y="15922"/>
                  </a:cubicBezTo>
                  <a:cubicBezTo>
                    <a:pt x="8843" y="15913"/>
                    <a:pt x="8850" y="15906"/>
                    <a:pt x="8857" y="15902"/>
                  </a:cubicBezTo>
                  <a:cubicBezTo>
                    <a:pt x="8894" y="15883"/>
                    <a:pt x="8933" y="15881"/>
                    <a:pt x="8972" y="15884"/>
                  </a:cubicBezTo>
                  <a:cubicBezTo>
                    <a:pt x="8995" y="15885"/>
                    <a:pt x="9003" y="15909"/>
                    <a:pt x="9003" y="15932"/>
                  </a:cubicBezTo>
                  <a:cubicBezTo>
                    <a:pt x="9003" y="15952"/>
                    <a:pt x="8996" y="15973"/>
                    <a:pt x="9010" y="15993"/>
                  </a:cubicBezTo>
                  <a:cubicBezTo>
                    <a:pt x="9016" y="15991"/>
                    <a:pt x="9025" y="15992"/>
                    <a:pt x="9028" y="15989"/>
                  </a:cubicBezTo>
                  <a:cubicBezTo>
                    <a:pt x="9068" y="15941"/>
                    <a:pt x="9114" y="15899"/>
                    <a:pt x="9129" y="15834"/>
                  </a:cubicBezTo>
                  <a:cubicBezTo>
                    <a:pt x="9147" y="15758"/>
                    <a:pt x="9172" y="15682"/>
                    <a:pt x="9174" y="15602"/>
                  </a:cubicBezTo>
                  <a:cubicBezTo>
                    <a:pt x="9175" y="15596"/>
                    <a:pt x="9176" y="15590"/>
                    <a:pt x="9177" y="15584"/>
                  </a:cubicBezTo>
                  <a:cubicBezTo>
                    <a:pt x="9179" y="15573"/>
                    <a:pt x="9184" y="15563"/>
                    <a:pt x="9197" y="15563"/>
                  </a:cubicBezTo>
                  <a:cubicBezTo>
                    <a:pt x="9209" y="15564"/>
                    <a:pt x="9216" y="15572"/>
                    <a:pt x="9217" y="15583"/>
                  </a:cubicBezTo>
                  <a:cubicBezTo>
                    <a:pt x="9219" y="15595"/>
                    <a:pt x="9218" y="15608"/>
                    <a:pt x="9219" y="15621"/>
                  </a:cubicBezTo>
                  <a:cubicBezTo>
                    <a:pt x="9221" y="15641"/>
                    <a:pt x="9221" y="15662"/>
                    <a:pt x="9226" y="15683"/>
                  </a:cubicBezTo>
                  <a:cubicBezTo>
                    <a:pt x="9245" y="15769"/>
                    <a:pt x="9227" y="15846"/>
                    <a:pt x="9181" y="15921"/>
                  </a:cubicBezTo>
                  <a:cubicBezTo>
                    <a:pt x="9155" y="15965"/>
                    <a:pt x="9143" y="16017"/>
                    <a:pt x="9124" y="16066"/>
                  </a:cubicBezTo>
                  <a:cubicBezTo>
                    <a:pt x="9118" y="16081"/>
                    <a:pt x="9119" y="16095"/>
                    <a:pt x="9133" y="16104"/>
                  </a:cubicBezTo>
                  <a:cubicBezTo>
                    <a:pt x="9150" y="16114"/>
                    <a:pt x="9161" y="16104"/>
                    <a:pt x="9171" y="16092"/>
                  </a:cubicBezTo>
                  <a:cubicBezTo>
                    <a:pt x="9178" y="16082"/>
                    <a:pt x="9185" y="16072"/>
                    <a:pt x="9191" y="16061"/>
                  </a:cubicBezTo>
                  <a:cubicBezTo>
                    <a:pt x="9206" y="16034"/>
                    <a:pt x="9225" y="16036"/>
                    <a:pt x="9246" y="16053"/>
                  </a:cubicBezTo>
                  <a:cubicBezTo>
                    <a:pt x="9258" y="16036"/>
                    <a:pt x="9242" y="16029"/>
                    <a:pt x="9238" y="16018"/>
                  </a:cubicBezTo>
                  <a:cubicBezTo>
                    <a:pt x="9234" y="16008"/>
                    <a:pt x="9231" y="15997"/>
                    <a:pt x="9241" y="15990"/>
                  </a:cubicBezTo>
                  <a:cubicBezTo>
                    <a:pt x="9251" y="15983"/>
                    <a:pt x="9259" y="15994"/>
                    <a:pt x="9268" y="15999"/>
                  </a:cubicBezTo>
                  <a:cubicBezTo>
                    <a:pt x="9297" y="16017"/>
                    <a:pt x="9314" y="16046"/>
                    <a:pt x="9332" y="16074"/>
                  </a:cubicBezTo>
                  <a:cubicBezTo>
                    <a:pt x="9339" y="16084"/>
                    <a:pt x="9346" y="16097"/>
                    <a:pt x="9361" y="16093"/>
                  </a:cubicBezTo>
                  <a:cubicBezTo>
                    <a:pt x="9375" y="16089"/>
                    <a:pt x="9378" y="16076"/>
                    <a:pt x="9380" y="16063"/>
                  </a:cubicBezTo>
                  <a:cubicBezTo>
                    <a:pt x="9389" y="15996"/>
                    <a:pt x="9427" y="15945"/>
                    <a:pt x="9472" y="15889"/>
                  </a:cubicBezTo>
                  <a:cubicBezTo>
                    <a:pt x="9499" y="15942"/>
                    <a:pt x="9458" y="15999"/>
                    <a:pt x="9493" y="16040"/>
                  </a:cubicBezTo>
                  <a:cubicBezTo>
                    <a:pt x="9503" y="16042"/>
                    <a:pt x="9508" y="16039"/>
                    <a:pt x="9513" y="16034"/>
                  </a:cubicBezTo>
                  <a:cubicBezTo>
                    <a:pt x="9539" y="16005"/>
                    <a:pt x="9545" y="16005"/>
                    <a:pt x="9567" y="16034"/>
                  </a:cubicBezTo>
                  <a:cubicBezTo>
                    <a:pt x="9585" y="16058"/>
                    <a:pt x="9604" y="16084"/>
                    <a:pt x="9615" y="16114"/>
                  </a:cubicBezTo>
                  <a:cubicBezTo>
                    <a:pt x="9618" y="16123"/>
                    <a:pt x="9621" y="16133"/>
                    <a:pt x="9625" y="16143"/>
                  </a:cubicBezTo>
                  <a:cubicBezTo>
                    <a:pt x="9629" y="16153"/>
                    <a:pt x="9633" y="16163"/>
                    <a:pt x="9645" y="16165"/>
                  </a:cubicBezTo>
                  <a:cubicBezTo>
                    <a:pt x="9660" y="16167"/>
                    <a:pt x="9669" y="16156"/>
                    <a:pt x="9674" y="16145"/>
                  </a:cubicBezTo>
                  <a:cubicBezTo>
                    <a:pt x="9693" y="16100"/>
                    <a:pt x="9717" y="16053"/>
                    <a:pt x="9716" y="16003"/>
                  </a:cubicBezTo>
                  <a:cubicBezTo>
                    <a:pt x="9716" y="15951"/>
                    <a:pt x="9747" y="15923"/>
                    <a:pt x="9780" y="15895"/>
                  </a:cubicBezTo>
                  <a:cubicBezTo>
                    <a:pt x="9803" y="15876"/>
                    <a:pt x="9818" y="15881"/>
                    <a:pt x="9825" y="15910"/>
                  </a:cubicBezTo>
                  <a:cubicBezTo>
                    <a:pt x="9831" y="15938"/>
                    <a:pt x="9833" y="15968"/>
                    <a:pt x="9839" y="15996"/>
                  </a:cubicBezTo>
                  <a:cubicBezTo>
                    <a:pt x="9844" y="16017"/>
                    <a:pt x="9845" y="16050"/>
                    <a:pt x="9874" y="16047"/>
                  </a:cubicBezTo>
                  <a:cubicBezTo>
                    <a:pt x="9899" y="16045"/>
                    <a:pt x="9903" y="16015"/>
                    <a:pt x="9904" y="15992"/>
                  </a:cubicBezTo>
                  <a:cubicBezTo>
                    <a:pt x="9904" y="15986"/>
                    <a:pt x="9902" y="15980"/>
                    <a:pt x="9912" y="15973"/>
                  </a:cubicBezTo>
                  <a:cubicBezTo>
                    <a:pt x="9940" y="16003"/>
                    <a:pt x="9966" y="16033"/>
                    <a:pt x="9968" y="16078"/>
                  </a:cubicBezTo>
                  <a:cubicBezTo>
                    <a:pt x="9968" y="16094"/>
                    <a:pt x="9964" y="16114"/>
                    <a:pt x="9986" y="16119"/>
                  </a:cubicBezTo>
                  <a:cubicBezTo>
                    <a:pt x="9999" y="16122"/>
                    <a:pt x="10009" y="16110"/>
                    <a:pt x="10017" y="16101"/>
                  </a:cubicBezTo>
                  <a:cubicBezTo>
                    <a:pt x="10032" y="16085"/>
                    <a:pt x="10033" y="16068"/>
                    <a:pt x="10022" y="16050"/>
                  </a:cubicBezTo>
                  <a:cubicBezTo>
                    <a:pt x="10015" y="16040"/>
                    <a:pt x="10006" y="16030"/>
                    <a:pt x="9997" y="16022"/>
                  </a:cubicBezTo>
                  <a:cubicBezTo>
                    <a:pt x="9986" y="16012"/>
                    <a:pt x="9973" y="16003"/>
                    <a:pt x="9981" y="15986"/>
                  </a:cubicBezTo>
                  <a:cubicBezTo>
                    <a:pt x="9988" y="15972"/>
                    <a:pt x="10001" y="15974"/>
                    <a:pt x="10013" y="15973"/>
                  </a:cubicBezTo>
                  <a:cubicBezTo>
                    <a:pt x="10055" y="15973"/>
                    <a:pt x="10097" y="15970"/>
                    <a:pt x="10138" y="15970"/>
                  </a:cubicBezTo>
                  <a:cubicBezTo>
                    <a:pt x="10194" y="15971"/>
                    <a:pt x="10242" y="15997"/>
                    <a:pt x="10275" y="16044"/>
                  </a:cubicBezTo>
                  <a:cubicBezTo>
                    <a:pt x="10285" y="16057"/>
                    <a:pt x="10292" y="16079"/>
                    <a:pt x="10311" y="16065"/>
                  </a:cubicBezTo>
                  <a:cubicBezTo>
                    <a:pt x="10327" y="16053"/>
                    <a:pt x="10319" y="16034"/>
                    <a:pt x="10309" y="16020"/>
                  </a:cubicBezTo>
                  <a:cubicBezTo>
                    <a:pt x="10290" y="15992"/>
                    <a:pt x="10266" y="15969"/>
                    <a:pt x="10238" y="15951"/>
                  </a:cubicBezTo>
                  <a:cubicBezTo>
                    <a:pt x="10211" y="15935"/>
                    <a:pt x="10185" y="15917"/>
                    <a:pt x="10160" y="15900"/>
                  </a:cubicBezTo>
                  <a:cubicBezTo>
                    <a:pt x="10149" y="15893"/>
                    <a:pt x="10141" y="15883"/>
                    <a:pt x="10132" y="15875"/>
                  </a:cubicBezTo>
                  <a:cubicBezTo>
                    <a:pt x="10121" y="15865"/>
                    <a:pt x="10111" y="15853"/>
                    <a:pt x="10117" y="15837"/>
                  </a:cubicBezTo>
                  <a:cubicBezTo>
                    <a:pt x="10126" y="15817"/>
                    <a:pt x="10144" y="15822"/>
                    <a:pt x="10160" y="15822"/>
                  </a:cubicBezTo>
                  <a:cubicBezTo>
                    <a:pt x="10180" y="15822"/>
                    <a:pt x="10197" y="15831"/>
                    <a:pt x="10213" y="15840"/>
                  </a:cubicBezTo>
                  <a:cubicBezTo>
                    <a:pt x="10226" y="15847"/>
                    <a:pt x="10238" y="15854"/>
                    <a:pt x="10251" y="15861"/>
                  </a:cubicBezTo>
                  <a:cubicBezTo>
                    <a:pt x="10269" y="15873"/>
                    <a:pt x="10292" y="15885"/>
                    <a:pt x="10304" y="15860"/>
                  </a:cubicBezTo>
                  <a:cubicBezTo>
                    <a:pt x="10315" y="15836"/>
                    <a:pt x="10293" y="15820"/>
                    <a:pt x="10273" y="15814"/>
                  </a:cubicBezTo>
                  <a:cubicBezTo>
                    <a:pt x="10216" y="15797"/>
                    <a:pt x="10183" y="15757"/>
                    <a:pt x="10156" y="15708"/>
                  </a:cubicBezTo>
                  <a:cubicBezTo>
                    <a:pt x="10150" y="15697"/>
                    <a:pt x="10142" y="15686"/>
                    <a:pt x="10151" y="15674"/>
                  </a:cubicBezTo>
                  <a:cubicBezTo>
                    <a:pt x="10161" y="15660"/>
                    <a:pt x="10175" y="15662"/>
                    <a:pt x="10190" y="15665"/>
                  </a:cubicBezTo>
                  <a:cubicBezTo>
                    <a:pt x="10215" y="15671"/>
                    <a:pt x="10233" y="15690"/>
                    <a:pt x="10256" y="15700"/>
                  </a:cubicBezTo>
                  <a:cubicBezTo>
                    <a:pt x="10274" y="15707"/>
                    <a:pt x="10294" y="15726"/>
                    <a:pt x="10311" y="15700"/>
                  </a:cubicBezTo>
                  <a:cubicBezTo>
                    <a:pt x="10328" y="15674"/>
                    <a:pt x="10314" y="15631"/>
                    <a:pt x="10287" y="15621"/>
                  </a:cubicBezTo>
                  <a:cubicBezTo>
                    <a:pt x="10273" y="15616"/>
                    <a:pt x="10258" y="15615"/>
                    <a:pt x="10244" y="15611"/>
                  </a:cubicBezTo>
                  <a:cubicBezTo>
                    <a:pt x="10205" y="15599"/>
                    <a:pt x="10194" y="15571"/>
                    <a:pt x="10212" y="15534"/>
                  </a:cubicBezTo>
                  <a:cubicBezTo>
                    <a:pt x="10215" y="15528"/>
                    <a:pt x="10221" y="15524"/>
                    <a:pt x="10223" y="15519"/>
                  </a:cubicBezTo>
                  <a:cubicBezTo>
                    <a:pt x="10236" y="15490"/>
                    <a:pt x="10231" y="15479"/>
                    <a:pt x="10198" y="15471"/>
                  </a:cubicBezTo>
                  <a:cubicBezTo>
                    <a:pt x="10140" y="15455"/>
                    <a:pt x="10131" y="15442"/>
                    <a:pt x="10150" y="15384"/>
                  </a:cubicBezTo>
                  <a:cubicBezTo>
                    <a:pt x="10157" y="15362"/>
                    <a:pt x="10157" y="15345"/>
                    <a:pt x="10150" y="15324"/>
                  </a:cubicBezTo>
                  <a:cubicBezTo>
                    <a:pt x="10131" y="15269"/>
                    <a:pt x="10162" y="15230"/>
                    <a:pt x="10220" y="15233"/>
                  </a:cubicBezTo>
                  <a:cubicBezTo>
                    <a:pt x="10224" y="15233"/>
                    <a:pt x="10228" y="15234"/>
                    <a:pt x="10232" y="15234"/>
                  </a:cubicBezTo>
                  <a:cubicBezTo>
                    <a:pt x="10248" y="15235"/>
                    <a:pt x="10263" y="15251"/>
                    <a:pt x="10280" y="15238"/>
                  </a:cubicBezTo>
                  <a:cubicBezTo>
                    <a:pt x="10297" y="15226"/>
                    <a:pt x="10283" y="15207"/>
                    <a:pt x="10286" y="15192"/>
                  </a:cubicBezTo>
                  <a:cubicBezTo>
                    <a:pt x="10293" y="15159"/>
                    <a:pt x="10320" y="15134"/>
                    <a:pt x="10355" y="15131"/>
                  </a:cubicBezTo>
                  <a:cubicBezTo>
                    <a:pt x="10371" y="15129"/>
                    <a:pt x="10390" y="15134"/>
                    <a:pt x="10404" y="15123"/>
                  </a:cubicBezTo>
                  <a:cubicBezTo>
                    <a:pt x="10438" y="15096"/>
                    <a:pt x="10473" y="15100"/>
                    <a:pt x="10498" y="15129"/>
                  </a:cubicBezTo>
                  <a:cubicBezTo>
                    <a:pt x="10523" y="15156"/>
                    <a:pt x="10538" y="15192"/>
                    <a:pt x="10524" y="15232"/>
                  </a:cubicBezTo>
                  <a:cubicBezTo>
                    <a:pt x="10524" y="15234"/>
                    <a:pt x="10522" y="15235"/>
                    <a:pt x="10522" y="15237"/>
                  </a:cubicBezTo>
                  <a:cubicBezTo>
                    <a:pt x="10514" y="15272"/>
                    <a:pt x="10518" y="15278"/>
                    <a:pt x="10551" y="15283"/>
                  </a:cubicBezTo>
                  <a:cubicBezTo>
                    <a:pt x="10557" y="15284"/>
                    <a:pt x="10564" y="15282"/>
                    <a:pt x="10570" y="15283"/>
                  </a:cubicBezTo>
                  <a:cubicBezTo>
                    <a:pt x="10602" y="15289"/>
                    <a:pt x="10621" y="15307"/>
                    <a:pt x="10618" y="15338"/>
                  </a:cubicBezTo>
                  <a:cubicBezTo>
                    <a:pt x="10614" y="15378"/>
                    <a:pt x="10608" y="15421"/>
                    <a:pt x="10587" y="15457"/>
                  </a:cubicBezTo>
                  <a:cubicBezTo>
                    <a:pt x="10568" y="15490"/>
                    <a:pt x="10545" y="15523"/>
                    <a:pt x="10501" y="15502"/>
                  </a:cubicBezTo>
                  <a:cubicBezTo>
                    <a:pt x="10485" y="15521"/>
                    <a:pt x="10493" y="15539"/>
                    <a:pt x="10487" y="15555"/>
                  </a:cubicBezTo>
                  <a:cubicBezTo>
                    <a:pt x="10475" y="15588"/>
                    <a:pt x="10455" y="15608"/>
                    <a:pt x="10420" y="15612"/>
                  </a:cubicBezTo>
                  <a:cubicBezTo>
                    <a:pt x="10395" y="15615"/>
                    <a:pt x="10377" y="15629"/>
                    <a:pt x="10373" y="15655"/>
                  </a:cubicBezTo>
                  <a:cubicBezTo>
                    <a:pt x="10370" y="15673"/>
                    <a:pt x="10364" y="15695"/>
                    <a:pt x="10381" y="15708"/>
                  </a:cubicBezTo>
                  <a:cubicBezTo>
                    <a:pt x="10400" y="15721"/>
                    <a:pt x="10417" y="15706"/>
                    <a:pt x="10431" y="15695"/>
                  </a:cubicBezTo>
                  <a:cubicBezTo>
                    <a:pt x="10452" y="15677"/>
                    <a:pt x="10478" y="15651"/>
                    <a:pt x="10501" y="15667"/>
                  </a:cubicBezTo>
                  <a:cubicBezTo>
                    <a:pt x="10529" y="15687"/>
                    <a:pt x="10504" y="15719"/>
                    <a:pt x="10496" y="15746"/>
                  </a:cubicBezTo>
                  <a:cubicBezTo>
                    <a:pt x="10483" y="15787"/>
                    <a:pt x="10465" y="15823"/>
                    <a:pt x="10422" y="15841"/>
                  </a:cubicBezTo>
                  <a:cubicBezTo>
                    <a:pt x="10416" y="15843"/>
                    <a:pt x="10411" y="15847"/>
                    <a:pt x="10407" y="15852"/>
                  </a:cubicBezTo>
                  <a:cubicBezTo>
                    <a:pt x="10397" y="15863"/>
                    <a:pt x="10375" y="15873"/>
                    <a:pt x="10386" y="15892"/>
                  </a:cubicBezTo>
                  <a:cubicBezTo>
                    <a:pt x="10400" y="15915"/>
                    <a:pt x="10423" y="15909"/>
                    <a:pt x="10441" y="15897"/>
                  </a:cubicBezTo>
                  <a:cubicBezTo>
                    <a:pt x="10483" y="15871"/>
                    <a:pt x="10524" y="15841"/>
                    <a:pt x="10577" y="15841"/>
                  </a:cubicBezTo>
                  <a:cubicBezTo>
                    <a:pt x="10590" y="15841"/>
                    <a:pt x="10599" y="15831"/>
                    <a:pt x="10602" y="15817"/>
                  </a:cubicBezTo>
                  <a:cubicBezTo>
                    <a:pt x="10613" y="15763"/>
                    <a:pt x="10653" y="15734"/>
                    <a:pt x="10700" y="15713"/>
                  </a:cubicBezTo>
                  <a:cubicBezTo>
                    <a:pt x="10715" y="15706"/>
                    <a:pt x="10731" y="15699"/>
                    <a:pt x="10745" y="15691"/>
                  </a:cubicBezTo>
                  <a:cubicBezTo>
                    <a:pt x="10769" y="15678"/>
                    <a:pt x="10781" y="15658"/>
                    <a:pt x="10773" y="15629"/>
                  </a:cubicBezTo>
                  <a:cubicBezTo>
                    <a:pt x="10769" y="15613"/>
                    <a:pt x="10765" y="15596"/>
                    <a:pt x="10763" y="15580"/>
                  </a:cubicBezTo>
                  <a:cubicBezTo>
                    <a:pt x="10757" y="15538"/>
                    <a:pt x="10789" y="15495"/>
                    <a:pt x="10829" y="15487"/>
                  </a:cubicBezTo>
                  <a:cubicBezTo>
                    <a:pt x="10855" y="15482"/>
                    <a:pt x="10863" y="15502"/>
                    <a:pt x="10866" y="15520"/>
                  </a:cubicBezTo>
                  <a:cubicBezTo>
                    <a:pt x="10869" y="15538"/>
                    <a:pt x="10863" y="15557"/>
                    <a:pt x="10861" y="15575"/>
                  </a:cubicBezTo>
                  <a:cubicBezTo>
                    <a:pt x="10860" y="15586"/>
                    <a:pt x="10858" y="15597"/>
                    <a:pt x="10870" y="15602"/>
                  </a:cubicBezTo>
                  <a:cubicBezTo>
                    <a:pt x="10881" y="15607"/>
                    <a:pt x="10891" y="15600"/>
                    <a:pt x="10898" y="15593"/>
                  </a:cubicBezTo>
                  <a:cubicBezTo>
                    <a:pt x="10908" y="15583"/>
                    <a:pt x="10916" y="15570"/>
                    <a:pt x="10926" y="15560"/>
                  </a:cubicBezTo>
                  <a:cubicBezTo>
                    <a:pt x="10956" y="15532"/>
                    <a:pt x="10988" y="15531"/>
                    <a:pt x="11004" y="15566"/>
                  </a:cubicBezTo>
                  <a:cubicBezTo>
                    <a:pt x="11027" y="15618"/>
                    <a:pt x="11075" y="15608"/>
                    <a:pt x="11113" y="15623"/>
                  </a:cubicBezTo>
                  <a:cubicBezTo>
                    <a:pt x="11126" y="15627"/>
                    <a:pt x="11138" y="15618"/>
                    <a:pt x="11140" y="15603"/>
                  </a:cubicBezTo>
                  <a:cubicBezTo>
                    <a:pt x="11145" y="15560"/>
                    <a:pt x="11151" y="15516"/>
                    <a:pt x="11142" y="15473"/>
                  </a:cubicBezTo>
                  <a:cubicBezTo>
                    <a:pt x="11136" y="15442"/>
                    <a:pt x="11115" y="15436"/>
                    <a:pt x="11085" y="15451"/>
                  </a:cubicBezTo>
                  <a:cubicBezTo>
                    <a:pt x="11080" y="15454"/>
                    <a:pt x="11076" y="15459"/>
                    <a:pt x="11070" y="15461"/>
                  </a:cubicBezTo>
                  <a:cubicBezTo>
                    <a:pt x="11018" y="15483"/>
                    <a:pt x="11010" y="15500"/>
                    <a:pt x="10979" y="15435"/>
                  </a:cubicBezTo>
                  <a:cubicBezTo>
                    <a:pt x="10970" y="15414"/>
                    <a:pt x="10951" y="15405"/>
                    <a:pt x="10937" y="15390"/>
                  </a:cubicBezTo>
                  <a:cubicBezTo>
                    <a:pt x="10920" y="15373"/>
                    <a:pt x="10904" y="15359"/>
                    <a:pt x="10913" y="15331"/>
                  </a:cubicBezTo>
                  <a:cubicBezTo>
                    <a:pt x="10921" y="15304"/>
                    <a:pt x="10938" y="15290"/>
                    <a:pt x="10965" y="15283"/>
                  </a:cubicBezTo>
                  <a:cubicBezTo>
                    <a:pt x="11005" y="15274"/>
                    <a:pt x="11005" y="15273"/>
                    <a:pt x="11007" y="15226"/>
                  </a:cubicBezTo>
                  <a:cubicBezTo>
                    <a:pt x="11008" y="15218"/>
                    <a:pt x="11009" y="15209"/>
                    <a:pt x="11013" y="15202"/>
                  </a:cubicBezTo>
                  <a:cubicBezTo>
                    <a:pt x="11040" y="15153"/>
                    <a:pt x="11089" y="15131"/>
                    <a:pt x="11137" y="15114"/>
                  </a:cubicBezTo>
                  <a:cubicBezTo>
                    <a:pt x="11178" y="15100"/>
                    <a:pt x="11216" y="15145"/>
                    <a:pt x="11214" y="15196"/>
                  </a:cubicBezTo>
                  <a:cubicBezTo>
                    <a:pt x="11213" y="15213"/>
                    <a:pt x="11199" y="15236"/>
                    <a:pt x="11223" y="15245"/>
                  </a:cubicBezTo>
                  <a:cubicBezTo>
                    <a:pt x="11244" y="15254"/>
                    <a:pt x="11254" y="15231"/>
                    <a:pt x="11266" y="15217"/>
                  </a:cubicBezTo>
                  <a:cubicBezTo>
                    <a:pt x="11304" y="15174"/>
                    <a:pt x="11342" y="15179"/>
                    <a:pt x="11363" y="15233"/>
                  </a:cubicBezTo>
                  <a:cubicBezTo>
                    <a:pt x="11374" y="15262"/>
                    <a:pt x="11385" y="15291"/>
                    <a:pt x="11399" y="15318"/>
                  </a:cubicBezTo>
                  <a:cubicBezTo>
                    <a:pt x="11420" y="15358"/>
                    <a:pt x="11403" y="15391"/>
                    <a:pt x="11356" y="15411"/>
                  </a:cubicBezTo>
                  <a:cubicBezTo>
                    <a:pt x="11310" y="15432"/>
                    <a:pt x="11310" y="15432"/>
                    <a:pt x="11334" y="15476"/>
                  </a:cubicBezTo>
                  <a:cubicBezTo>
                    <a:pt x="11351" y="15505"/>
                    <a:pt x="11346" y="15532"/>
                    <a:pt x="11318" y="15551"/>
                  </a:cubicBezTo>
                  <a:cubicBezTo>
                    <a:pt x="11299" y="15564"/>
                    <a:pt x="11277" y="15572"/>
                    <a:pt x="11257" y="15582"/>
                  </a:cubicBezTo>
                  <a:cubicBezTo>
                    <a:pt x="11251" y="15586"/>
                    <a:pt x="11247" y="15590"/>
                    <a:pt x="11247" y="15597"/>
                  </a:cubicBezTo>
                  <a:cubicBezTo>
                    <a:pt x="11249" y="15607"/>
                    <a:pt x="11258" y="15608"/>
                    <a:pt x="11266" y="15609"/>
                  </a:cubicBezTo>
                  <a:cubicBezTo>
                    <a:pt x="11277" y="15609"/>
                    <a:pt x="11286" y="15605"/>
                    <a:pt x="11295" y="15599"/>
                  </a:cubicBezTo>
                  <a:cubicBezTo>
                    <a:pt x="11301" y="15594"/>
                    <a:pt x="11308" y="15588"/>
                    <a:pt x="11315" y="15585"/>
                  </a:cubicBezTo>
                  <a:cubicBezTo>
                    <a:pt x="11325" y="15582"/>
                    <a:pt x="11336" y="15582"/>
                    <a:pt x="11345" y="15590"/>
                  </a:cubicBezTo>
                  <a:cubicBezTo>
                    <a:pt x="11355" y="15599"/>
                    <a:pt x="11349" y="15609"/>
                    <a:pt x="11344" y="15618"/>
                  </a:cubicBezTo>
                  <a:cubicBezTo>
                    <a:pt x="11323" y="15658"/>
                    <a:pt x="11300" y="15698"/>
                    <a:pt x="11262" y="15726"/>
                  </a:cubicBezTo>
                  <a:cubicBezTo>
                    <a:pt x="11235" y="15746"/>
                    <a:pt x="11211" y="15769"/>
                    <a:pt x="11192" y="15796"/>
                  </a:cubicBezTo>
                  <a:cubicBezTo>
                    <a:pt x="11179" y="15813"/>
                    <a:pt x="11169" y="15831"/>
                    <a:pt x="11168" y="15853"/>
                  </a:cubicBezTo>
                  <a:cubicBezTo>
                    <a:pt x="11167" y="15867"/>
                    <a:pt x="11162" y="15884"/>
                    <a:pt x="11179" y="15891"/>
                  </a:cubicBezTo>
                  <a:cubicBezTo>
                    <a:pt x="11194" y="15896"/>
                    <a:pt x="11201" y="15883"/>
                    <a:pt x="11209" y="15874"/>
                  </a:cubicBezTo>
                  <a:cubicBezTo>
                    <a:pt x="11240" y="15838"/>
                    <a:pt x="11271" y="15801"/>
                    <a:pt x="11314" y="15777"/>
                  </a:cubicBezTo>
                  <a:cubicBezTo>
                    <a:pt x="11325" y="15772"/>
                    <a:pt x="11335" y="15761"/>
                    <a:pt x="11348" y="15772"/>
                  </a:cubicBezTo>
                  <a:cubicBezTo>
                    <a:pt x="11359" y="15782"/>
                    <a:pt x="11359" y="15795"/>
                    <a:pt x="11354" y="15806"/>
                  </a:cubicBezTo>
                  <a:cubicBezTo>
                    <a:pt x="11337" y="15851"/>
                    <a:pt x="11344" y="15900"/>
                    <a:pt x="11319" y="15944"/>
                  </a:cubicBezTo>
                  <a:cubicBezTo>
                    <a:pt x="11305" y="15967"/>
                    <a:pt x="11293" y="15990"/>
                    <a:pt x="11274" y="16010"/>
                  </a:cubicBezTo>
                  <a:cubicBezTo>
                    <a:pt x="11264" y="16020"/>
                    <a:pt x="11252" y="16031"/>
                    <a:pt x="11257" y="16048"/>
                  </a:cubicBezTo>
                  <a:cubicBezTo>
                    <a:pt x="11263" y="16066"/>
                    <a:pt x="11280" y="16061"/>
                    <a:pt x="11294" y="16064"/>
                  </a:cubicBezTo>
                  <a:cubicBezTo>
                    <a:pt x="11317" y="16068"/>
                    <a:pt x="11339" y="16076"/>
                    <a:pt x="11335" y="16035"/>
                  </a:cubicBezTo>
                  <a:cubicBezTo>
                    <a:pt x="11333" y="16007"/>
                    <a:pt x="11353" y="16001"/>
                    <a:pt x="11375" y="16018"/>
                  </a:cubicBezTo>
                  <a:cubicBezTo>
                    <a:pt x="11385" y="16026"/>
                    <a:pt x="11392" y="16037"/>
                    <a:pt x="11401" y="16046"/>
                  </a:cubicBezTo>
                  <a:cubicBezTo>
                    <a:pt x="11407" y="16052"/>
                    <a:pt x="11415" y="16057"/>
                    <a:pt x="11423" y="16053"/>
                  </a:cubicBezTo>
                  <a:cubicBezTo>
                    <a:pt x="11431" y="16049"/>
                    <a:pt x="11433" y="16040"/>
                    <a:pt x="11433" y="16031"/>
                  </a:cubicBezTo>
                  <a:cubicBezTo>
                    <a:pt x="11432" y="16009"/>
                    <a:pt x="11420" y="15992"/>
                    <a:pt x="11406" y="15976"/>
                  </a:cubicBezTo>
                  <a:cubicBezTo>
                    <a:pt x="11397" y="15965"/>
                    <a:pt x="11385" y="15956"/>
                    <a:pt x="11377" y="15944"/>
                  </a:cubicBezTo>
                  <a:cubicBezTo>
                    <a:pt x="11373" y="15938"/>
                    <a:pt x="11371" y="15927"/>
                    <a:pt x="11374" y="15921"/>
                  </a:cubicBezTo>
                  <a:cubicBezTo>
                    <a:pt x="11379" y="15910"/>
                    <a:pt x="11390" y="15910"/>
                    <a:pt x="11401" y="15914"/>
                  </a:cubicBezTo>
                  <a:cubicBezTo>
                    <a:pt x="11441" y="15931"/>
                    <a:pt x="11481" y="15949"/>
                    <a:pt x="11516" y="15975"/>
                  </a:cubicBezTo>
                  <a:cubicBezTo>
                    <a:pt x="11525" y="15981"/>
                    <a:pt x="11538" y="15992"/>
                    <a:pt x="11543" y="15983"/>
                  </a:cubicBezTo>
                  <a:cubicBezTo>
                    <a:pt x="11575" y="15930"/>
                    <a:pt x="11595" y="15978"/>
                    <a:pt x="11619" y="15990"/>
                  </a:cubicBezTo>
                  <a:cubicBezTo>
                    <a:pt x="11627" y="15994"/>
                    <a:pt x="11631" y="16008"/>
                    <a:pt x="11647" y="16002"/>
                  </a:cubicBezTo>
                  <a:cubicBezTo>
                    <a:pt x="11616" y="15950"/>
                    <a:pt x="11563" y="15926"/>
                    <a:pt x="11520" y="15890"/>
                  </a:cubicBezTo>
                  <a:cubicBezTo>
                    <a:pt x="11490" y="15864"/>
                    <a:pt x="11459" y="15840"/>
                    <a:pt x="11465" y="15790"/>
                  </a:cubicBezTo>
                  <a:cubicBezTo>
                    <a:pt x="11515" y="15806"/>
                    <a:pt x="11545" y="15847"/>
                    <a:pt x="11591" y="15860"/>
                  </a:cubicBezTo>
                  <a:cubicBezTo>
                    <a:pt x="11635" y="15874"/>
                    <a:pt x="11673" y="15898"/>
                    <a:pt x="11712" y="15923"/>
                  </a:cubicBezTo>
                  <a:cubicBezTo>
                    <a:pt x="11728" y="15933"/>
                    <a:pt x="11737" y="15950"/>
                    <a:pt x="11751" y="15962"/>
                  </a:cubicBezTo>
                  <a:cubicBezTo>
                    <a:pt x="11758" y="15968"/>
                    <a:pt x="11767" y="15970"/>
                    <a:pt x="11774" y="15966"/>
                  </a:cubicBezTo>
                  <a:cubicBezTo>
                    <a:pt x="11782" y="15961"/>
                    <a:pt x="11785" y="15953"/>
                    <a:pt x="11784" y="15944"/>
                  </a:cubicBezTo>
                  <a:cubicBezTo>
                    <a:pt x="11779" y="15909"/>
                    <a:pt x="11756" y="15887"/>
                    <a:pt x="11730" y="15871"/>
                  </a:cubicBezTo>
                  <a:cubicBezTo>
                    <a:pt x="11677" y="15840"/>
                    <a:pt x="11635" y="15799"/>
                    <a:pt x="11599" y="15748"/>
                  </a:cubicBezTo>
                  <a:cubicBezTo>
                    <a:pt x="11571" y="15708"/>
                    <a:pt x="11524" y="15690"/>
                    <a:pt x="11481" y="15672"/>
                  </a:cubicBezTo>
                  <a:cubicBezTo>
                    <a:pt x="11452" y="15660"/>
                    <a:pt x="11426" y="15645"/>
                    <a:pt x="11399" y="15629"/>
                  </a:cubicBezTo>
                  <a:cubicBezTo>
                    <a:pt x="11417" y="15607"/>
                    <a:pt x="11436" y="15613"/>
                    <a:pt x="11454" y="15616"/>
                  </a:cubicBezTo>
                  <a:cubicBezTo>
                    <a:pt x="11551" y="15635"/>
                    <a:pt x="11642" y="15666"/>
                    <a:pt x="11707" y="15748"/>
                  </a:cubicBezTo>
                  <a:cubicBezTo>
                    <a:pt x="11729" y="15777"/>
                    <a:pt x="11763" y="15791"/>
                    <a:pt x="11793" y="15810"/>
                  </a:cubicBezTo>
                  <a:cubicBezTo>
                    <a:pt x="11822" y="15828"/>
                    <a:pt x="11846" y="15848"/>
                    <a:pt x="11857" y="15882"/>
                  </a:cubicBezTo>
                  <a:cubicBezTo>
                    <a:pt x="11864" y="15902"/>
                    <a:pt x="11876" y="15927"/>
                    <a:pt x="11899" y="15918"/>
                  </a:cubicBezTo>
                  <a:cubicBezTo>
                    <a:pt x="11924" y="15908"/>
                    <a:pt x="11909" y="15883"/>
                    <a:pt x="11901" y="15864"/>
                  </a:cubicBezTo>
                  <a:cubicBezTo>
                    <a:pt x="11890" y="15834"/>
                    <a:pt x="11874" y="15809"/>
                    <a:pt x="11852" y="15785"/>
                  </a:cubicBezTo>
                  <a:cubicBezTo>
                    <a:pt x="11821" y="15753"/>
                    <a:pt x="11799" y="15717"/>
                    <a:pt x="11818" y="15668"/>
                  </a:cubicBezTo>
                  <a:cubicBezTo>
                    <a:pt x="11824" y="15651"/>
                    <a:pt x="11822" y="15630"/>
                    <a:pt x="11820" y="15612"/>
                  </a:cubicBezTo>
                  <a:cubicBezTo>
                    <a:pt x="11816" y="15574"/>
                    <a:pt x="11800" y="15558"/>
                    <a:pt x="11762" y="15551"/>
                  </a:cubicBezTo>
                  <a:cubicBezTo>
                    <a:pt x="11745" y="15548"/>
                    <a:pt x="11729" y="15545"/>
                    <a:pt x="11714" y="15537"/>
                  </a:cubicBezTo>
                  <a:cubicBezTo>
                    <a:pt x="11686" y="15524"/>
                    <a:pt x="11674" y="15503"/>
                    <a:pt x="11678" y="15472"/>
                  </a:cubicBezTo>
                  <a:cubicBezTo>
                    <a:pt x="11683" y="15438"/>
                    <a:pt x="11699" y="15421"/>
                    <a:pt x="11735" y="15415"/>
                  </a:cubicBezTo>
                  <a:cubicBezTo>
                    <a:pt x="11789" y="15405"/>
                    <a:pt x="11812" y="15419"/>
                    <a:pt x="11822" y="15472"/>
                  </a:cubicBezTo>
                  <a:cubicBezTo>
                    <a:pt x="11826" y="15494"/>
                    <a:pt x="11835" y="15511"/>
                    <a:pt x="11851" y="15526"/>
                  </a:cubicBezTo>
                  <a:cubicBezTo>
                    <a:pt x="11894" y="15567"/>
                    <a:pt x="11921" y="15614"/>
                    <a:pt x="11898" y="15676"/>
                  </a:cubicBezTo>
                  <a:cubicBezTo>
                    <a:pt x="11890" y="15696"/>
                    <a:pt x="11901" y="15712"/>
                    <a:pt x="11908" y="15729"/>
                  </a:cubicBezTo>
                  <a:cubicBezTo>
                    <a:pt x="11927" y="15780"/>
                    <a:pt x="11969" y="15819"/>
                    <a:pt x="11982" y="15873"/>
                  </a:cubicBezTo>
                  <a:cubicBezTo>
                    <a:pt x="11984" y="15882"/>
                    <a:pt x="11992" y="15886"/>
                    <a:pt x="12001" y="15885"/>
                  </a:cubicBezTo>
                  <a:cubicBezTo>
                    <a:pt x="12010" y="15885"/>
                    <a:pt x="12017" y="15879"/>
                    <a:pt x="12019" y="15871"/>
                  </a:cubicBezTo>
                  <a:cubicBezTo>
                    <a:pt x="12023" y="15857"/>
                    <a:pt x="12026" y="15843"/>
                    <a:pt x="12029" y="15828"/>
                  </a:cubicBezTo>
                  <a:cubicBezTo>
                    <a:pt x="12042" y="15767"/>
                    <a:pt x="12061" y="15712"/>
                    <a:pt x="12138" y="15704"/>
                  </a:cubicBezTo>
                  <a:cubicBezTo>
                    <a:pt x="12174" y="15700"/>
                    <a:pt x="12180" y="15681"/>
                    <a:pt x="12170" y="15645"/>
                  </a:cubicBezTo>
                  <a:cubicBezTo>
                    <a:pt x="12164" y="15622"/>
                    <a:pt x="12147" y="15606"/>
                    <a:pt x="12135" y="15586"/>
                  </a:cubicBezTo>
                  <a:cubicBezTo>
                    <a:pt x="12131" y="15579"/>
                    <a:pt x="12126" y="15571"/>
                    <a:pt x="12132" y="15564"/>
                  </a:cubicBezTo>
                  <a:cubicBezTo>
                    <a:pt x="12139" y="15554"/>
                    <a:pt x="12151" y="15554"/>
                    <a:pt x="12160" y="15559"/>
                  </a:cubicBezTo>
                  <a:cubicBezTo>
                    <a:pt x="12183" y="15572"/>
                    <a:pt x="12208" y="15584"/>
                    <a:pt x="12225" y="15606"/>
                  </a:cubicBezTo>
                  <a:cubicBezTo>
                    <a:pt x="12238" y="15625"/>
                    <a:pt x="12254" y="15642"/>
                    <a:pt x="12265" y="15661"/>
                  </a:cubicBezTo>
                  <a:cubicBezTo>
                    <a:pt x="12283" y="15691"/>
                    <a:pt x="12305" y="15714"/>
                    <a:pt x="12339" y="15725"/>
                  </a:cubicBezTo>
                  <a:cubicBezTo>
                    <a:pt x="12361" y="15733"/>
                    <a:pt x="12374" y="15750"/>
                    <a:pt x="12385" y="15768"/>
                  </a:cubicBezTo>
                  <a:cubicBezTo>
                    <a:pt x="12375" y="15782"/>
                    <a:pt x="12365" y="15779"/>
                    <a:pt x="12354" y="15779"/>
                  </a:cubicBezTo>
                  <a:cubicBezTo>
                    <a:pt x="12311" y="15777"/>
                    <a:pt x="12308" y="15783"/>
                    <a:pt x="12314" y="15822"/>
                  </a:cubicBezTo>
                  <a:cubicBezTo>
                    <a:pt x="12325" y="15885"/>
                    <a:pt x="12360" y="15937"/>
                    <a:pt x="12379" y="15997"/>
                  </a:cubicBezTo>
                  <a:cubicBezTo>
                    <a:pt x="12387" y="16019"/>
                    <a:pt x="12409" y="16017"/>
                    <a:pt x="12419" y="16002"/>
                  </a:cubicBezTo>
                  <a:cubicBezTo>
                    <a:pt x="12442" y="15968"/>
                    <a:pt x="12473" y="15945"/>
                    <a:pt x="12503" y="15920"/>
                  </a:cubicBezTo>
                  <a:cubicBezTo>
                    <a:pt x="12530" y="15898"/>
                    <a:pt x="12533" y="15831"/>
                    <a:pt x="12511" y="15791"/>
                  </a:cubicBezTo>
                  <a:cubicBezTo>
                    <a:pt x="12499" y="15767"/>
                    <a:pt x="12482" y="15745"/>
                    <a:pt x="12469" y="15722"/>
                  </a:cubicBezTo>
                  <a:cubicBezTo>
                    <a:pt x="12455" y="15700"/>
                    <a:pt x="12438" y="15693"/>
                    <a:pt x="12412" y="15695"/>
                  </a:cubicBezTo>
                  <a:cubicBezTo>
                    <a:pt x="12345" y="15701"/>
                    <a:pt x="12312" y="15662"/>
                    <a:pt x="12319" y="15593"/>
                  </a:cubicBezTo>
                  <a:cubicBezTo>
                    <a:pt x="12324" y="15557"/>
                    <a:pt x="12367" y="15508"/>
                    <a:pt x="12402" y="15499"/>
                  </a:cubicBezTo>
                  <a:cubicBezTo>
                    <a:pt x="12429" y="15492"/>
                    <a:pt x="12477" y="15511"/>
                    <a:pt x="12496" y="15536"/>
                  </a:cubicBezTo>
                  <a:cubicBezTo>
                    <a:pt x="12512" y="15558"/>
                    <a:pt x="12515" y="15583"/>
                    <a:pt x="12514" y="15608"/>
                  </a:cubicBezTo>
                  <a:cubicBezTo>
                    <a:pt x="12513" y="15640"/>
                    <a:pt x="12524" y="15669"/>
                    <a:pt x="12539" y="15697"/>
                  </a:cubicBezTo>
                  <a:cubicBezTo>
                    <a:pt x="12544" y="15706"/>
                    <a:pt x="12552" y="15713"/>
                    <a:pt x="12564" y="15712"/>
                  </a:cubicBezTo>
                  <a:cubicBezTo>
                    <a:pt x="12576" y="15711"/>
                    <a:pt x="12582" y="15702"/>
                    <a:pt x="12584" y="15691"/>
                  </a:cubicBezTo>
                  <a:cubicBezTo>
                    <a:pt x="12587" y="15679"/>
                    <a:pt x="12590" y="15667"/>
                    <a:pt x="12591" y="15655"/>
                  </a:cubicBezTo>
                  <a:cubicBezTo>
                    <a:pt x="12593" y="15581"/>
                    <a:pt x="12624" y="15518"/>
                    <a:pt x="12667" y="15460"/>
                  </a:cubicBezTo>
                  <a:cubicBezTo>
                    <a:pt x="12691" y="15427"/>
                    <a:pt x="12711" y="15393"/>
                    <a:pt x="12717" y="15349"/>
                  </a:cubicBezTo>
                  <a:cubicBezTo>
                    <a:pt x="12726" y="15271"/>
                    <a:pt x="12803" y="15233"/>
                    <a:pt x="12875" y="15261"/>
                  </a:cubicBezTo>
                  <a:cubicBezTo>
                    <a:pt x="12902" y="15272"/>
                    <a:pt x="12925" y="15289"/>
                    <a:pt x="12952" y="15300"/>
                  </a:cubicBezTo>
                  <a:cubicBezTo>
                    <a:pt x="12982" y="15313"/>
                    <a:pt x="12999" y="15307"/>
                    <a:pt x="13002" y="15276"/>
                  </a:cubicBezTo>
                  <a:cubicBezTo>
                    <a:pt x="13011" y="15204"/>
                    <a:pt x="13049" y="15143"/>
                    <a:pt x="13079" y="15080"/>
                  </a:cubicBezTo>
                  <a:cubicBezTo>
                    <a:pt x="13128" y="14979"/>
                    <a:pt x="13160" y="14871"/>
                    <a:pt x="13195" y="14765"/>
                  </a:cubicBezTo>
                  <a:cubicBezTo>
                    <a:pt x="13198" y="14758"/>
                    <a:pt x="13199" y="14749"/>
                    <a:pt x="13200" y="14741"/>
                  </a:cubicBezTo>
                  <a:cubicBezTo>
                    <a:pt x="13207" y="14643"/>
                    <a:pt x="13213" y="14546"/>
                    <a:pt x="13222" y="14448"/>
                  </a:cubicBezTo>
                  <a:cubicBezTo>
                    <a:pt x="13235" y="14309"/>
                    <a:pt x="13223" y="14170"/>
                    <a:pt x="13229" y="14030"/>
                  </a:cubicBezTo>
                  <a:cubicBezTo>
                    <a:pt x="13233" y="13921"/>
                    <a:pt x="13254" y="13817"/>
                    <a:pt x="13297" y="13716"/>
                  </a:cubicBezTo>
                  <a:cubicBezTo>
                    <a:pt x="13323" y="13657"/>
                    <a:pt x="13322" y="13601"/>
                    <a:pt x="13282" y="13545"/>
                  </a:cubicBezTo>
                  <a:cubicBezTo>
                    <a:pt x="13257" y="13510"/>
                    <a:pt x="13239" y="13470"/>
                    <a:pt x="13218" y="13432"/>
                  </a:cubicBezTo>
                  <a:cubicBezTo>
                    <a:pt x="13212" y="13421"/>
                    <a:pt x="13203" y="13410"/>
                    <a:pt x="13189" y="13411"/>
                  </a:cubicBezTo>
                  <a:cubicBezTo>
                    <a:pt x="13175" y="13413"/>
                    <a:pt x="13168" y="13425"/>
                    <a:pt x="13167" y="13438"/>
                  </a:cubicBezTo>
                  <a:cubicBezTo>
                    <a:pt x="13159" y="13524"/>
                    <a:pt x="13077" y="13539"/>
                    <a:pt x="13025" y="13583"/>
                  </a:cubicBezTo>
                  <a:cubicBezTo>
                    <a:pt x="13016" y="13592"/>
                    <a:pt x="13006" y="13585"/>
                    <a:pt x="13000" y="13575"/>
                  </a:cubicBezTo>
                  <a:cubicBezTo>
                    <a:pt x="12998" y="13572"/>
                    <a:pt x="12996" y="13568"/>
                    <a:pt x="12994" y="13564"/>
                  </a:cubicBezTo>
                  <a:cubicBezTo>
                    <a:pt x="12958" y="13483"/>
                    <a:pt x="13006" y="13349"/>
                    <a:pt x="13086" y="13311"/>
                  </a:cubicBezTo>
                  <a:cubicBezTo>
                    <a:pt x="13103" y="13303"/>
                    <a:pt x="13123" y="13300"/>
                    <a:pt x="13121" y="13275"/>
                  </a:cubicBezTo>
                  <a:cubicBezTo>
                    <a:pt x="13119" y="13253"/>
                    <a:pt x="13105" y="13242"/>
                    <a:pt x="13087" y="13233"/>
                  </a:cubicBezTo>
                  <a:cubicBezTo>
                    <a:pt x="13069" y="13224"/>
                    <a:pt x="13049" y="13221"/>
                    <a:pt x="13036" y="13238"/>
                  </a:cubicBezTo>
                  <a:cubicBezTo>
                    <a:pt x="13018" y="13263"/>
                    <a:pt x="12994" y="13268"/>
                    <a:pt x="12967" y="13276"/>
                  </a:cubicBezTo>
                  <a:cubicBezTo>
                    <a:pt x="12889" y="13300"/>
                    <a:pt x="12831" y="13260"/>
                    <a:pt x="12772" y="13220"/>
                  </a:cubicBezTo>
                  <a:cubicBezTo>
                    <a:pt x="12747" y="13204"/>
                    <a:pt x="12749" y="13190"/>
                    <a:pt x="12778" y="13175"/>
                  </a:cubicBezTo>
                  <a:cubicBezTo>
                    <a:pt x="12853" y="13137"/>
                    <a:pt x="12926" y="13100"/>
                    <a:pt x="13014" y="13147"/>
                  </a:cubicBezTo>
                  <a:cubicBezTo>
                    <a:pt x="13050" y="13166"/>
                    <a:pt x="13091" y="13176"/>
                    <a:pt x="13127" y="13199"/>
                  </a:cubicBezTo>
                  <a:cubicBezTo>
                    <a:pt x="13154" y="13216"/>
                    <a:pt x="13167" y="13209"/>
                    <a:pt x="13171" y="13174"/>
                  </a:cubicBezTo>
                  <a:cubicBezTo>
                    <a:pt x="13176" y="13124"/>
                    <a:pt x="13174" y="13076"/>
                    <a:pt x="13131" y="13037"/>
                  </a:cubicBezTo>
                  <a:cubicBezTo>
                    <a:pt x="13094" y="13003"/>
                    <a:pt x="13070" y="12960"/>
                    <a:pt x="13068" y="12905"/>
                  </a:cubicBezTo>
                  <a:cubicBezTo>
                    <a:pt x="13066" y="12861"/>
                    <a:pt x="13029" y="12833"/>
                    <a:pt x="12999" y="12805"/>
                  </a:cubicBezTo>
                  <a:cubicBezTo>
                    <a:pt x="12981" y="12789"/>
                    <a:pt x="12960" y="12796"/>
                    <a:pt x="12945" y="12815"/>
                  </a:cubicBezTo>
                  <a:cubicBezTo>
                    <a:pt x="12939" y="12821"/>
                    <a:pt x="12934" y="12830"/>
                    <a:pt x="12934" y="12837"/>
                  </a:cubicBezTo>
                  <a:cubicBezTo>
                    <a:pt x="12939" y="12926"/>
                    <a:pt x="12863" y="12974"/>
                    <a:pt x="12827" y="13042"/>
                  </a:cubicBezTo>
                  <a:cubicBezTo>
                    <a:pt x="12822" y="13051"/>
                    <a:pt x="12816" y="13060"/>
                    <a:pt x="12803" y="13059"/>
                  </a:cubicBezTo>
                  <a:cubicBezTo>
                    <a:pt x="12788" y="13058"/>
                    <a:pt x="12782" y="13048"/>
                    <a:pt x="12778" y="13036"/>
                  </a:cubicBezTo>
                  <a:cubicBezTo>
                    <a:pt x="12751" y="12959"/>
                    <a:pt x="12742" y="12885"/>
                    <a:pt x="12814" y="12825"/>
                  </a:cubicBezTo>
                  <a:cubicBezTo>
                    <a:pt x="12827" y="12814"/>
                    <a:pt x="12840" y="12799"/>
                    <a:pt x="12826" y="12782"/>
                  </a:cubicBezTo>
                  <a:cubicBezTo>
                    <a:pt x="12814" y="12767"/>
                    <a:pt x="12795" y="12772"/>
                    <a:pt x="12780" y="12779"/>
                  </a:cubicBezTo>
                  <a:cubicBezTo>
                    <a:pt x="12751" y="12789"/>
                    <a:pt x="12727" y="12809"/>
                    <a:pt x="12718" y="12837"/>
                  </a:cubicBezTo>
                  <a:cubicBezTo>
                    <a:pt x="12688" y="12927"/>
                    <a:pt x="12617" y="12975"/>
                    <a:pt x="12545" y="13026"/>
                  </a:cubicBezTo>
                  <a:cubicBezTo>
                    <a:pt x="12521" y="13043"/>
                    <a:pt x="12507" y="13033"/>
                    <a:pt x="12493" y="13015"/>
                  </a:cubicBezTo>
                  <a:cubicBezTo>
                    <a:pt x="12484" y="13003"/>
                    <a:pt x="12480" y="12989"/>
                    <a:pt x="12480" y="12974"/>
                  </a:cubicBezTo>
                  <a:cubicBezTo>
                    <a:pt x="12480" y="12942"/>
                    <a:pt x="12483" y="12911"/>
                    <a:pt x="12493" y="12881"/>
                  </a:cubicBezTo>
                  <a:cubicBezTo>
                    <a:pt x="12512" y="12821"/>
                    <a:pt x="12557" y="12782"/>
                    <a:pt x="12619" y="12783"/>
                  </a:cubicBezTo>
                  <a:cubicBezTo>
                    <a:pt x="12663" y="12784"/>
                    <a:pt x="12696" y="12768"/>
                    <a:pt x="12730" y="12748"/>
                  </a:cubicBezTo>
                  <a:cubicBezTo>
                    <a:pt x="12748" y="12737"/>
                    <a:pt x="12765" y="12725"/>
                    <a:pt x="12786" y="12722"/>
                  </a:cubicBezTo>
                  <a:cubicBezTo>
                    <a:pt x="12801" y="12719"/>
                    <a:pt x="12816" y="12715"/>
                    <a:pt x="12814" y="12696"/>
                  </a:cubicBezTo>
                  <a:cubicBezTo>
                    <a:pt x="12811" y="12679"/>
                    <a:pt x="12799" y="12669"/>
                    <a:pt x="12783" y="12670"/>
                  </a:cubicBezTo>
                  <a:cubicBezTo>
                    <a:pt x="12741" y="12671"/>
                    <a:pt x="12714" y="12645"/>
                    <a:pt x="12688" y="12618"/>
                  </a:cubicBezTo>
                  <a:cubicBezTo>
                    <a:pt x="12684" y="12613"/>
                    <a:pt x="12680" y="12608"/>
                    <a:pt x="12677" y="12603"/>
                  </a:cubicBezTo>
                  <a:cubicBezTo>
                    <a:pt x="12663" y="12579"/>
                    <a:pt x="12669" y="12561"/>
                    <a:pt x="12697" y="12559"/>
                  </a:cubicBezTo>
                  <a:cubicBezTo>
                    <a:pt x="12728" y="12558"/>
                    <a:pt x="12758" y="12550"/>
                    <a:pt x="12789" y="12546"/>
                  </a:cubicBezTo>
                  <a:cubicBezTo>
                    <a:pt x="12845" y="12540"/>
                    <a:pt x="12892" y="12557"/>
                    <a:pt x="12922" y="12608"/>
                  </a:cubicBezTo>
                  <a:cubicBezTo>
                    <a:pt x="12928" y="12619"/>
                    <a:pt x="12935" y="12630"/>
                    <a:pt x="12941" y="12641"/>
                  </a:cubicBezTo>
                  <a:cubicBezTo>
                    <a:pt x="12961" y="12683"/>
                    <a:pt x="12988" y="12719"/>
                    <a:pt x="13028" y="12744"/>
                  </a:cubicBezTo>
                  <a:cubicBezTo>
                    <a:pt x="13090" y="12783"/>
                    <a:pt x="13124" y="12840"/>
                    <a:pt x="13137" y="12911"/>
                  </a:cubicBezTo>
                  <a:cubicBezTo>
                    <a:pt x="13143" y="12940"/>
                    <a:pt x="13161" y="12959"/>
                    <a:pt x="13184" y="12975"/>
                  </a:cubicBezTo>
                  <a:cubicBezTo>
                    <a:pt x="13206" y="12990"/>
                    <a:pt x="13232" y="12980"/>
                    <a:pt x="13228" y="12956"/>
                  </a:cubicBezTo>
                  <a:cubicBezTo>
                    <a:pt x="13216" y="12869"/>
                    <a:pt x="13278" y="12819"/>
                    <a:pt x="13322" y="12760"/>
                  </a:cubicBezTo>
                  <a:cubicBezTo>
                    <a:pt x="13337" y="12740"/>
                    <a:pt x="13352" y="12720"/>
                    <a:pt x="13368" y="12701"/>
                  </a:cubicBezTo>
                  <a:cubicBezTo>
                    <a:pt x="13416" y="12643"/>
                    <a:pt x="13407" y="12572"/>
                    <a:pt x="13414" y="12505"/>
                  </a:cubicBezTo>
                  <a:cubicBezTo>
                    <a:pt x="13421" y="12435"/>
                    <a:pt x="13427" y="12363"/>
                    <a:pt x="13425" y="12294"/>
                  </a:cubicBezTo>
                  <a:cubicBezTo>
                    <a:pt x="13422" y="12227"/>
                    <a:pt x="13415" y="12158"/>
                    <a:pt x="13391" y="12092"/>
                  </a:cubicBezTo>
                  <a:cubicBezTo>
                    <a:pt x="13371" y="12038"/>
                    <a:pt x="13357" y="11981"/>
                    <a:pt x="13341" y="11926"/>
                  </a:cubicBezTo>
                  <a:cubicBezTo>
                    <a:pt x="13324" y="11868"/>
                    <a:pt x="13336" y="11810"/>
                    <a:pt x="13340" y="11752"/>
                  </a:cubicBezTo>
                  <a:cubicBezTo>
                    <a:pt x="13342" y="11715"/>
                    <a:pt x="13338" y="11681"/>
                    <a:pt x="13322" y="11649"/>
                  </a:cubicBezTo>
                  <a:cubicBezTo>
                    <a:pt x="13299" y="11605"/>
                    <a:pt x="13278" y="11558"/>
                    <a:pt x="13247" y="11520"/>
                  </a:cubicBezTo>
                  <a:cubicBezTo>
                    <a:pt x="13185" y="11445"/>
                    <a:pt x="13097" y="11413"/>
                    <a:pt x="13003" y="11398"/>
                  </a:cubicBezTo>
                  <a:cubicBezTo>
                    <a:pt x="12987" y="11396"/>
                    <a:pt x="12975" y="11401"/>
                    <a:pt x="12963" y="11411"/>
                  </a:cubicBezTo>
                  <a:cubicBezTo>
                    <a:pt x="12915" y="11453"/>
                    <a:pt x="12900" y="11523"/>
                    <a:pt x="12926" y="11583"/>
                  </a:cubicBezTo>
                  <a:cubicBezTo>
                    <a:pt x="12929" y="11588"/>
                    <a:pt x="12932" y="11594"/>
                    <a:pt x="12935" y="11599"/>
                  </a:cubicBezTo>
                  <a:cubicBezTo>
                    <a:pt x="12963" y="11661"/>
                    <a:pt x="12950" y="11741"/>
                    <a:pt x="12904" y="11789"/>
                  </a:cubicBezTo>
                  <a:cubicBezTo>
                    <a:pt x="12888" y="11805"/>
                    <a:pt x="12875" y="11798"/>
                    <a:pt x="12862" y="11783"/>
                  </a:cubicBezTo>
                  <a:cubicBezTo>
                    <a:pt x="12823" y="11736"/>
                    <a:pt x="12811" y="11684"/>
                    <a:pt x="12824" y="11625"/>
                  </a:cubicBezTo>
                  <a:cubicBezTo>
                    <a:pt x="12828" y="11609"/>
                    <a:pt x="12833" y="11593"/>
                    <a:pt x="12832" y="11577"/>
                  </a:cubicBezTo>
                  <a:cubicBezTo>
                    <a:pt x="12832" y="11560"/>
                    <a:pt x="12818" y="11557"/>
                    <a:pt x="12806" y="11566"/>
                  </a:cubicBezTo>
                  <a:cubicBezTo>
                    <a:pt x="12742" y="11610"/>
                    <a:pt x="12722" y="11703"/>
                    <a:pt x="12764" y="11770"/>
                  </a:cubicBezTo>
                  <a:cubicBezTo>
                    <a:pt x="12794" y="11818"/>
                    <a:pt x="12827" y="11864"/>
                    <a:pt x="12828" y="11924"/>
                  </a:cubicBezTo>
                  <a:cubicBezTo>
                    <a:pt x="12828" y="11936"/>
                    <a:pt x="12831" y="11949"/>
                    <a:pt x="12829" y="11961"/>
                  </a:cubicBezTo>
                  <a:cubicBezTo>
                    <a:pt x="12826" y="11974"/>
                    <a:pt x="12818" y="11984"/>
                    <a:pt x="12802" y="11978"/>
                  </a:cubicBezTo>
                  <a:cubicBezTo>
                    <a:pt x="12769" y="11966"/>
                    <a:pt x="12734" y="11958"/>
                    <a:pt x="12709" y="11930"/>
                  </a:cubicBezTo>
                  <a:cubicBezTo>
                    <a:pt x="12678" y="11896"/>
                    <a:pt x="12656" y="11860"/>
                    <a:pt x="12677" y="11812"/>
                  </a:cubicBezTo>
                  <a:cubicBezTo>
                    <a:pt x="12680" y="11804"/>
                    <a:pt x="12681" y="11796"/>
                    <a:pt x="12683" y="11788"/>
                  </a:cubicBezTo>
                  <a:cubicBezTo>
                    <a:pt x="12684" y="11779"/>
                    <a:pt x="12682" y="11770"/>
                    <a:pt x="12675" y="11765"/>
                  </a:cubicBezTo>
                  <a:cubicBezTo>
                    <a:pt x="12668" y="11760"/>
                    <a:pt x="12659" y="11765"/>
                    <a:pt x="12652" y="11769"/>
                  </a:cubicBezTo>
                  <a:cubicBezTo>
                    <a:pt x="12632" y="11780"/>
                    <a:pt x="12624" y="11798"/>
                    <a:pt x="12620" y="11820"/>
                  </a:cubicBezTo>
                  <a:cubicBezTo>
                    <a:pt x="12613" y="11853"/>
                    <a:pt x="12613" y="11886"/>
                    <a:pt x="12620" y="11919"/>
                  </a:cubicBezTo>
                  <a:cubicBezTo>
                    <a:pt x="12630" y="11967"/>
                    <a:pt x="12616" y="12005"/>
                    <a:pt x="12576" y="12033"/>
                  </a:cubicBezTo>
                  <a:cubicBezTo>
                    <a:pt x="12565" y="12040"/>
                    <a:pt x="12556" y="12049"/>
                    <a:pt x="12547" y="12057"/>
                  </a:cubicBezTo>
                  <a:cubicBezTo>
                    <a:pt x="12503" y="12095"/>
                    <a:pt x="12496" y="12094"/>
                    <a:pt x="12473" y="12043"/>
                  </a:cubicBezTo>
                  <a:cubicBezTo>
                    <a:pt x="12469" y="12034"/>
                    <a:pt x="12467" y="12023"/>
                    <a:pt x="12461" y="12015"/>
                  </a:cubicBezTo>
                  <a:cubicBezTo>
                    <a:pt x="12420" y="11950"/>
                    <a:pt x="12452" y="11896"/>
                    <a:pt x="12486" y="11842"/>
                  </a:cubicBezTo>
                  <a:cubicBezTo>
                    <a:pt x="12493" y="11831"/>
                    <a:pt x="12502" y="11822"/>
                    <a:pt x="12515" y="11820"/>
                  </a:cubicBezTo>
                  <a:cubicBezTo>
                    <a:pt x="12582" y="11810"/>
                    <a:pt x="12596" y="11748"/>
                    <a:pt x="12628" y="11704"/>
                  </a:cubicBezTo>
                  <a:cubicBezTo>
                    <a:pt x="12641" y="11685"/>
                    <a:pt x="12626" y="11667"/>
                    <a:pt x="12601" y="11671"/>
                  </a:cubicBezTo>
                  <a:cubicBezTo>
                    <a:pt x="12581" y="11675"/>
                    <a:pt x="12561" y="11681"/>
                    <a:pt x="12541" y="11688"/>
                  </a:cubicBezTo>
                  <a:cubicBezTo>
                    <a:pt x="12521" y="11696"/>
                    <a:pt x="12501" y="11696"/>
                    <a:pt x="12480" y="11691"/>
                  </a:cubicBezTo>
                  <a:cubicBezTo>
                    <a:pt x="12429" y="11680"/>
                    <a:pt x="12423" y="11659"/>
                    <a:pt x="12447" y="11613"/>
                  </a:cubicBezTo>
                  <a:cubicBezTo>
                    <a:pt x="12469" y="11570"/>
                    <a:pt x="12509" y="11553"/>
                    <a:pt x="12544" y="11530"/>
                  </a:cubicBezTo>
                  <a:cubicBezTo>
                    <a:pt x="12561" y="11519"/>
                    <a:pt x="12582" y="11518"/>
                    <a:pt x="12597" y="11532"/>
                  </a:cubicBezTo>
                  <a:cubicBezTo>
                    <a:pt x="12623" y="11556"/>
                    <a:pt x="12662" y="11561"/>
                    <a:pt x="12683" y="11592"/>
                  </a:cubicBezTo>
                  <a:cubicBezTo>
                    <a:pt x="12696" y="11610"/>
                    <a:pt x="12712" y="11607"/>
                    <a:pt x="12725" y="11592"/>
                  </a:cubicBezTo>
                  <a:cubicBezTo>
                    <a:pt x="12751" y="11562"/>
                    <a:pt x="12776" y="11532"/>
                    <a:pt x="12800" y="11500"/>
                  </a:cubicBezTo>
                  <a:cubicBezTo>
                    <a:pt x="12817" y="11477"/>
                    <a:pt x="12808" y="11459"/>
                    <a:pt x="12779" y="11459"/>
                  </a:cubicBezTo>
                  <a:cubicBezTo>
                    <a:pt x="12763" y="11460"/>
                    <a:pt x="12747" y="11464"/>
                    <a:pt x="12730" y="11467"/>
                  </a:cubicBezTo>
                  <a:cubicBezTo>
                    <a:pt x="12687" y="11477"/>
                    <a:pt x="12643" y="11474"/>
                    <a:pt x="12601" y="11462"/>
                  </a:cubicBezTo>
                  <a:cubicBezTo>
                    <a:pt x="12577" y="11455"/>
                    <a:pt x="12572" y="11438"/>
                    <a:pt x="12587" y="11420"/>
                  </a:cubicBezTo>
                  <a:cubicBezTo>
                    <a:pt x="12619" y="11381"/>
                    <a:pt x="12659" y="11351"/>
                    <a:pt x="12703" y="11327"/>
                  </a:cubicBezTo>
                  <a:cubicBezTo>
                    <a:pt x="12719" y="11319"/>
                    <a:pt x="12736" y="11320"/>
                    <a:pt x="12752" y="11326"/>
                  </a:cubicBezTo>
                  <a:cubicBezTo>
                    <a:pt x="12779" y="11336"/>
                    <a:pt x="12806" y="11346"/>
                    <a:pt x="12828" y="11367"/>
                  </a:cubicBezTo>
                  <a:cubicBezTo>
                    <a:pt x="12868" y="11406"/>
                    <a:pt x="12870" y="11405"/>
                    <a:pt x="12892" y="11383"/>
                  </a:cubicBezTo>
                  <a:cubicBezTo>
                    <a:pt x="12929" y="11346"/>
                    <a:pt x="12932" y="11311"/>
                    <a:pt x="12899" y="11281"/>
                  </a:cubicBezTo>
                  <a:cubicBezTo>
                    <a:pt x="12888" y="11272"/>
                    <a:pt x="12875" y="11265"/>
                    <a:pt x="12863" y="11256"/>
                  </a:cubicBezTo>
                  <a:cubicBezTo>
                    <a:pt x="12835" y="11235"/>
                    <a:pt x="12812" y="11209"/>
                    <a:pt x="12805" y="11172"/>
                  </a:cubicBezTo>
                  <a:cubicBezTo>
                    <a:pt x="12793" y="11117"/>
                    <a:pt x="12770" y="11067"/>
                    <a:pt x="12737" y="11020"/>
                  </a:cubicBezTo>
                  <a:cubicBezTo>
                    <a:pt x="12694" y="10961"/>
                    <a:pt x="12635" y="10929"/>
                    <a:pt x="12571" y="10904"/>
                  </a:cubicBezTo>
                  <a:cubicBezTo>
                    <a:pt x="12548" y="10895"/>
                    <a:pt x="12527" y="10898"/>
                    <a:pt x="12507" y="10914"/>
                  </a:cubicBezTo>
                  <a:cubicBezTo>
                    <a:pt x="12482" y="10933"/>
                    <a:pt x="12456" y="10951"/>
                    <a:pt x="12440" y="10978"/>
                  </a:cubicBezTo>
                  <a:cubicBezTo>
                    <a:pt x="12412" y="11025"/>
                    <a:pt x="12369" y="11054"/>
                    <a:pt x="12326" y="11083"/>
                  </a:cubicBezTo>
                  <a:cubicBezTo>
                    <a:pt x="12295" y="11103"/>
                    <a:pt x="12275" y="11093"/>
                    <a:pt x="12272" y="11055"/>
                  </a:cubicBezTo>
                  <a:cubicBezTo>
                    <a:pt x="12268" y="11009"/>
                    <a:pt x="12269" y="10963"/>
                    <a:pt x="12298" y="10923"/>
                  </a:cubicBezTo>
                  <a:cubicBezTo>
                    <a:pt x="12303" y="10917"/>
                    <a:pt x="12309" y="10911"/>
                    <a:pt x="12305" y="10901"/>
                  </a:cubicBezTo>
                  <a:cubicBezTo>
                    <a:pt x="12265" y="10900"/>
                    <a:pt x="12238" y="10915"/>
                    <a:pt x="12226" y="10957"/>
                  </a:cubicBezTo>
                  <a:cubicBezTo>
                    <a:pt x="12210" y="11015"/>
                    <a:pt x="12173" y="11049"/>
                    <a:pt x="12119" y="11069"/>
                  </a:cubicBezTo>
                  <a:cubicBezTo>
                    <a:pt x="12111" y="11072"/>
                    <a:pt x="12103" y="11075"/>
                    <a:pt x="12096" y="11080"/>
                  </a:cubicBezTo>
                  <a:cubicBezTo>
                    <a:pt x="12077" y="11092"/>
                    <a:pt x="12057" y="11109"/>
                    <a:pt x="12034" y="11092"/>
                  </a:cubicBezTo>
                  <a:cubicBezTo>
                    <a:pt x="12014" y="11076"/>
                    <a:pt x="12025" y="11054"/>
                    <a:pt x="12026" y="11033"/>
                  </a:cubicBezTo>
                  <a:cubicBezTo>
                    <a:pt x="12029" y="10980"/>
                    <a:pt x="12058" y="10942"/>
                    <a:pt x="12104" y="10907"/>
                  </a:cubicBezTo>
                  <a:cubicBezTo>
                    <a:pt x="12071" y="10892"/>
                    <a:pt x="12051" y="10910"/>
                    <a:pt x="12033" y="10922"/>
                  </a:cubicBezTo>
                  <a:cubicBezTo>
                    <a:pt x="12016" y="10933"/>
                    <a:pt x="12000" y="10949"/>
                    <a:pt x="11991" y="10967"/>
                  </a:cubicBezTo>
                  <a:cubicBezTo>
                    <a:pt x="11953" y="11040"/>
                    <a:pt x="11876" y="11044"/>
                    <a:pt x="11813" y="11070"/>
                  </a:cubicBezTo>
                  <a:cubicBezTo>
                    <a:pt x="11788" y="11080"/>
                    <a:pt x="11766" y="11065"/>
                    <a:pt x="11768" y="11042"/>
                  </a:cubicBezTo>
                  <a:cubicBezTo>
                    <a:pt x="11771" y="11002"/>
                    <a:pt x="11770" y="10961"/>
                    <a:pt x="11794" y="10923"/>
                  </a:cubicBezTo>
                  <a:cubicBezTo>
                    <a:pt x="11833" y="10860"/>
                    <a:pt x="11891" y="10849"/>
                    <a:pt x="11955" y="10849"/>
                  </a:cubicBezTo>
                  <a:cubicBezTo>
                    <a:pt x="11992" y="10850"/>
                    <a:pt x="12030" y="10848"/>
                    <a:pt x="12066" y="10841"/>
                  </a:cubicBezTo>
                  <a:cubicBezTo>
                    <a:pt x="12077" y="10839"/>
                    <a:pt x="12088" y="10835"/>
                    <a:pt x="12090" y="10824"/>
                  </a:cubicBezTo>
                  <a:cubicBezTo>
                    <a:pt x="12092" y="10808"/>
                    <a:pt x="12081" y="10800"/>
                    <a:pt x="12069" y="10797"/>
                  </a:cubicBezTo>
                  <a:cubicBezTo>
                    <a:pt x="12013" y="10784"/>
                    <a:pt x="11989" y="10734"/>
                    <a:pt x="11955" y="10696"/>
                  </a:cubicBezTo>
                  <a:cubicBezTo>
                    <a:pt x="11942" y="10682"/>
                    <a:pt x="11945" y="10665"/>
                    <a:pt x="11964" y="10663"/>
                  </a:cubicBezTo>
                  <a:cubicBezTo>
                    <a:pt x="12039" y="10652"/>
                    <a:pt x="12117" y="10632"/>
                    <a:pt x="12182" y="10697"/>
                  </a:cubicBezTo>
                  <a:cubicBezTo>
                    <a:pt x="12200" y="10715"/>
                    <a:pt x="12212" y="10736"/>
                    <a:pt x="12223" y="10758"/>
                  </a:cubicBezTo>
                  <a:cubicBezTo>
                    <a:pt x="12246" y="10802"/>
                    <a:pt x="12259" y="10808"/>
                    <a:pt x="12307" y="10804"/>
                  </a:cubicBezTo>
                  <a:cubicBezTo>
                    <a:pt x="12327" y="10802"/>
                    <a:pt x="12348" y="10802"/>
                    <a:pt x="12369" y="10802"/>
                  </a:cubicBezTo>
                  <a:cubicBezTo>
                    <a:pt x="12380" y="10802"/>
                    <a:pt x="12391" y="10803"/>
                    <a:pt x="12397" y="10792"/>
                  </a:cubicBezTo>
                  <a:cubicBezTo>
                    <a:pt x="12403" y="10780"/>
                    <a:pt x="12399" y="10766"/>
                    <a:pt x="12388" y="10759"/>
                  </a:cubicBezTo>
                  <a:cubicBezTo>
                    <a:pt x="12351" y="10734"/>
                    <a:pt x="12334" y="10697"/>
                    <a:pt x="12319" y="10657"/>
                  </a:cubicBezTo>
                  <a:cubicBezTo>
                    <a:pt x="12303" y="10613"/>
                    <a:pt x="12317" y="10596"/>
                    <a:pt x="12364" y="10597"/>
                  </a:cubicBezTo>
                  <a:cubicBezTo>
                    <a:pt x="12420" y="10599"/>
                    <a:pt x="12463" y="10627"/>
                    <a:pt x="12499" y="10666"/>
                  </a:cubicBezTo>
                  <a:cubicBezTo>
                    <a:pt x="12521" y="10688"/>
                    <a:pt x="12522" y="10719"/>
                    <a:pt x="12520" y="10748"/>
                  </a:cubicBezTo>
                  <a:cubicBezTo>
                    <a:pt x="12518" y="10778"/>
                    <a:pt x="12530" y="10797"/>
                    <a:pt x="12557" y="10805"/>
                  </a:cubicBezTo>
                  <a:cubicBezTo>
                    <a:pt x="12586" y="10813"/>
                    <a:pt x="12612" y="10822"/>
                    <a:pt x="12635" y="10843"/>
                  </a:cubicBezTo>
                  <a:cubicBezTo>
                    <a:pt x="12642" y="10850"/>
                    <a:pt x="12654" y="10851"/>
                    <a:pt x="12663" y="10842"/>
                  </a:cubicBezTo>
                  <a:cubicBezTo>
                    <a:pt x="12672" y="10833"/>
                    <a:pt x="12671" y="10823"/>
                    <a:pt x="12666" y="10813"/>
                  </a:cubicBezTo>
                  <a:cubicBezTo>
                    <a:pt x="12604" y="10692"/>
                    <a:pt x="12525" y="10588"/>
                    <a:pt x="12403" y="10521"/>
                  </a:cubicBezTo>
                  <a:cubicBezTo>
                    <a:pt x="12388" y="10513"/>
                    <a:pt x="12370" y="10508"/>
                    <a:pt x="12360" y="10496"/>
                  </a:cubicBezTo>
                  <a:cubicBezTo>
                    <a:pt x="12321" y="10451"/>
                    <a:pt x="12263" y="10441"/>
                    <a:pt x="12213" y="10417"/>
                  </a:cubicBezTo>
                  <a:cubicBezTo>
                    <a:pt x="12174" y="10399"/>
                    <a:pt x="12128" y="10396"/>
                    <a:pt x="12096" y="10441"/>
                  </a:cubicBezTo>
                  <a:cubicBezTo>
                    <a:pt x="12085" y="10456"/>
                    <a:pt x="12067" y="10466"/>
                    <a:pt x="12055" y="10480"/>
                  </a:cubicBezTo>
                  <a:cubicBezTo>
                    <a:pt x="12015" y="10530"/>
                    <a:pt x="11961" y="10544"/>
                    <a:pt x="11900" y="10544"/>
                  </a:cubicBezTo>
                  <a:cubicBezTo>
                    <a:pt x="11877" y="10544"/>
                    <a:pt x="11854" y="10548"/>
                    <a:pt x="11831" y="10547"/>
                  </a:cubicBezTo>
                  <a:cubicBezTo>
                    <a:pt x="11807" y="10547"/>
                    <a:pt x="11796" y="10531"/>
                    <a:pt x="11808" y="10511"/>
                  </a:cubicBezTo>
                  <a:cubicBezTo>
                    <a:pt x="11833" y="10467"/>
                    <a:pt x="11864" y="10429"/>
                    <a:pt x="11913" y="10408"/>
                  </a:cubicBezTo>
                  <a:cubicBezTo>
                    <a:pt x="11940" y="10397"/>
                    <a:pt x="11967" y="10387"/>
                    <a:pt x="11997" y="10385"/>
                  </a:cubicBezTo>
                  <a:cubicBezTo>
                    <a:pt x="12005" y="10384"/>
                    <a:pt x="12013" y="10379"/>
                    <a:pt x="12015" y="10370"/>
                  </a:cubicBezTo>
                  <a:cubicBezTo>
                    <a:pt x="12017" y="10361"/>
                    <a:pt x="12013" y="10354"/>
                    <a:pt x="12006" y="10349"/>
                  </a:cubicBezTo>
                  <a:cubicBezTo>
                    <a:pt x="11968" y="10319"/>
                    <a:pt x="11890" y="10318"/>
                    <a:pt x="11848" y="10342"/>
                  </a:cubicBezTo>
                  <a:cubicBezTo>
                    <a:pt x="11823" y="10357"/>
                    <a:pt x="11815" y="10379"/>
                    <a:pt x="11807" y="10402"/>
                  </a:cubicBezTo>
                  <a:cubicBezTo>
                    <a:pt x="11786" y="10460"/>
                    <a:pt x="11758" y="10512"/>
                    <a:pt x="11714" y="10556"/>
                  </a:cubicBezTo>
                  <a:cubicBezTo>
                    <a:pt x="11696" y="10574"/>
                    <a:pt x="11677" y="10589"/>
                    <a:pt x="11655" y="10601"/>
                  </a:cubicBezTo>
                  <a:cubicBezTo>
                    <a:pt x="11625" y="10616"/>
                    <a:pt x="11607" y="10606"/>
                    <a:pt x="11604" y="10573"/>
                  </a:cubicBezTo>
                  <a:cubicBezTo>
                    <a:pt x="11601" y="10548"/>
                    <a:pt x="11600" y="10523"/>
                    <a:pt x="11597" y="10499"/>
                  </a:cubicBezTo>
                  <a:cubicBezTo>
                    <a:pt x="11593" y="10466"/>
                    <a:pt x="11611" y="10443"/>
                    <a:pt x="11629" y="10420"/>
                  </a:cubicBezTo>
                  <a:cubicBezTo>
                    <a:pt x="11635" y="10412"/>
                    <a:pt x="11642" y="10404"/>
                    <a:pt x="11639" y="10392"/>
                  </a:cubicBezTo>
                  <a:cubicBezTo>
                    <a:pt x="11624" y="10379"/>
                    <a:pt x="11609" y="10384"/>
                    <a:pt x="11594" y="10393"/>
                  </a:cubicBezTo>
                  <a:cubicBezTo>
                    <a:pt x="11571" y="10408"/>
                    <a:pt x="11550" y="10426"/>
                    <a:pt x="11534" y="10448"/>
                  </a:cubicBezTo>
                  <a:cubicBezTo>
                    <a:pt x="11504" y="10490"/>
                    <a:pt x="11460" y="10506"/>
                    <a:pt x="11414" y="10519"/>
                  </a:cubicBezTo>
                  <a:cubicBezTo>
                    <a:pt x="11396" y="10523"/>
                    <a:pt x="11376" y="10523"/>
                    <a:pt x="11360" y="10535"/>
                  </a:cubicBezTo>
                  <a:cubicBezTo>
                    <a:pt x="11337" y="10553"/>
                    <a:pt x="11317" y="10540"/>
                    <a:pt x="11298" y="10526"/>
                  </a:cubicBezTo>
                  <a:cubicBezTo>
                    <a:pt x="11289" y="10519"/>
                    <a:pt x="11285" y="10510"/>
                    <a:pt x="11291" y="10499"/>
                  </a:cubicBezTo>
                  <a:cubicBezTo>
                    <a:pt x="11315" y="10452"/>
                    <a:pt x="11339" y="10404"/>
                    <a:pt x="11364" y="10357"/>
                  </a:cubicBezTo>
                  <a:cubicBezTo>
                    <a:pt x="11392" y="10302"/>
                    <a:pt x="11423" y="10287"/>
                    <a:pt x="11481" y="10310"/>
                  </a:cubicBezTo>
                  <a:cubicBezTo>
                    <a:pt x="11539" y="10333"/>
                    <a:pt x="11592" y="10318"/>
                    <a:pt x="11646" y="10303"/>
                  </a:cubicBezTo>
                  <a:cubicBezTo>
                    <a:pt x="11656" y="10301"/>
                    <a:pt x="11666" y="10295"/>
                    <a:pt x="11667" y="10283"/>
                  </a:cubicBezTo>
                  <a:cubicBezTo>
                    <a:pt x="11668" y="10268"/>
                    <a:pt x="11657" y="10261"/>
                    <a:pt x="11645" y="10258"/>
                  </a:cubicBezTo>
                  <a:cubicBezTo>
                    <a:pt x="11629" y="10254"/>
                    <a:pt x="11612" y="10251"/>
                    <a:pt x="11596" y="10248"/>
                  </a:cubicBezTo>
                  <a:cubicBezTo>
                    <a:pt x="11570" y="10243"/>
                    <a:pt x="11547" y="10231"/>
                    <a:pt x="11534" y="10209"/>
                  </a:cubicBezTo>
                  <a:cubicBezTo>
                    <a:pt x="11511" y="10165"/>
                    <a:pt x="11490" y="10120"/>
                    <a:pt x="11471" y="10074"/>
                  </a:cubicBezTo>
                  <a:cubicBezTo>
                    <a:pt x="11464" y="10057"/>
                    <a:pt x="11478" y="10047"/>
                    <a:pt x="11495" y="10046"/>
                  </a:cubicBezTo>
                  <a:cubicBezTo>
                    <a:pt x="11573" y="10045"/>
                    <a:pt x="11678" y="10051"/>
                    <a:pt x="11731" y="10162"/>
                  </a:cubicBezTo>
                  <a:cubicBezTo>
                    <a:pt x="11756" y="10214"/>
                    <a:pt x="11799" y="10238"/>
                    <a:pt x="11856" y="10236"/>
                  </a:cubicBezTo>
                  <a:cubicBezTo>
                    <a:pt x="11894" y="10235"/>
                    <a:pt x="11931" y="10233"/>
                    <a:pt x="11968" y="10244"/>
                  </a:cubicBezTo>
                  <a:cubicBezTo>
                    <a:pt x="11979" y="10247"/>
                    <a:pt x="11989" y="10246"/>
                    <a:pt x="11995" y="10236"/>
                  </a:cubicBezTo>
                  <a:cubicBezTo>
                    <a:pt x="12002" y="10225"/>
                    <a:pt x="11996" y="10216"/>
                    <a:pt x="11988" y="10209"/>
                  </a:cubicBezTo>
                  <a:cubicBezTo>
                    <a:pt x="11978" y="10200"/>
                    <a:pt x="11967" y="10193"/>
                    <a:pt x="11961" y="10183"/>
                  </a:cubicBezTo>
                  <a:cubicBezTo>
                    <a:pt x="11937" y="10146"/>
                    <a:pt x="11906" y="10146"/>
                    <a:pt x="11868" y="10158"/>
                  </a:cubicBezTo>
                  <a:cubicBezTo>
                    <a:pt x="11850" y="10164"/>
                    <a:pt x="11828" y="10185"/>
                    <a:pt x="11811" y="10164"/>
                  </a:cubicBezTo>
                  <a:cubicBezTo>
                    <a:pt x="11795" y="10144"/>
                    <a:pt x="11812" y="10121"/>
                    <a:pt x="11819" y="10100"/>
                  </a:cubicBezTo>
                  <a:cubicBezTo>
                    <a:pt x="11841" y="10028"/>
                    <a:pt x="11887" y="9988"/>
                    <a:pt x="11963" y="9982"/>
                  </a:cubicBezTo>
                  <a:cubicBezTo>
                    <a:pt x="11985" y="9980"/>
                    <a:pt x="12007" y="9971"/>
                    <a:pt x="12029" y="9962"/>
                  </a:cubicBezTo>
                  <a:cubicBezTo>
                    <a:pt x="12048" y="9955"/>
                    <a:pt x="12052" y="9937"/>
                    <a:pt x="12035" y="9924"/>
                  </a:cubicBezTo>
                  <a:cubicBezTo>
                    <a:pt x="12000" y="9897"/>
                    <a:pt x="11961" y="9876"/>
                    <a:pt x="11919" y="9865"/>
                  </a:cubicBezTo>
                  <a:cubicBezTo>
                    <a:pt x="11883" y="9855"/>
                    <a:pt x="11850" y="9881"/>
                    <a:pt x="11833" y="9906"/>
                  </a:cubicBezTo>
                  <a:cubicBezTo>
                    <a:pt x="11798" y="9958"/>
                    <a:pt x="11751" y="9952"/>
                    <a:pt x="11701" y="9950"/>
                  </a:cubicBezTo>
                  <a:cubicBezTo>
                    <a:pt x="11655" y="9947"/>
                    <a:pt x="11613" y="9924"/>
                    <a:pt x="11567" y="9922"/>
                  </a:cubicBezTo>
                  <a:cubicBezTo>
                    <a:pt x="11551" y="9922"/>
                    <a:pt x="11546" y="9907"/>
                    <a:pt x="11556" y="9895"/>
                  </a:cubicBezTo>
                  <a:cubicBezTo>
                    <a:pt x="11605" y="9839"/>
                    <a:pt x="11649" y="9774"/>
                    <a:pt x="11740" y="9789"/>
                  </a:cubicBezTo>
                  <a:cubicBezTo>
                    <a:pt x="11752" y="9791"/>
                    <a:pt x="11767" y="9791"/>
                    <a:pt x="11772" y="9777"/>
                  </a:cubicBezTo>
                  <a:cubicBezTo>
                    <a:pt x="11778" y="9758"/>
                    <a:pt x="11763" y="9752"/>
                    <a:pt x="11749" y="9746"/>
                  </a:cubicBezTo>
                  <a:cubicBezTo>
                    <a:pt x="11719" y="9731"/>
                    <a:pt x="11689" y="9732"/>
                    <a:pt x="11658" y="9740"/>
                  </a:cubicBezTo>
                  <a:cubicBezTo>
                    <a:pt x="11627" y="9747"/>
                    <a:pt x="11596" y="9750"/>
                    <a:pt x="11565" y="9754"/>
                  </a:cubicBezTo>
                  <a:cubicBezTo>
                    <a:pt x="11515" y="9759"/>
                    <a:pt x="11470" y="9752"/>
                    <a:pt x="11438" y="9708"/>
                  </a:cubicBezTo>
                  <a:cubicBezTo>
                    <a:pt x="11434" y="9704"/>
                    <a:pt x="11428" y="9700"/>
                    <a:pt x="11423" y="9696"/>
                  </a:cubicBezTo>
                  <a:cubicBezTo>
                    <a:pt x="11363" y="9649"/>
                    <a:pt x="11363" y="9645"/>
                    <a:pt x="11434" y="9607"/>
                  </a:cubicBezTo>
                  <a:cubicBezTo>
                    <a:pt x="11532" y="9553"/>
                    <a:pt x="11599" y="9561"/>
                    <a:pt x="11683" y="9637"/>
                  </a:cubicBezTo>
                  <a:cubicBezTo>
                    <a:pt x="11711" y="9662"/>
                    <a:pt x="11744" y="9681"/>
                    <a:pt x="11776" y="9699"/>
                  </a:cubicBezTo>
                  <a:cubicBezTo>
                    <a:pt x="11787" y="9705"/>
                    <a:pt x="11801" y="9704"/>
                    <a:pt x="11810" y="9692"/>
                  </a:cubicBezTo>
                  <a:cubicBezTo>
                    <a:pt x="11815" y="9685"/>
                    <a:pt x="11813" y="9676"/>
                    <a:pt x="11808" y="9669"/>
                  </a:cubicBezTo>
                  <a:cubicBezTo>
                    <a:pt x="11769" y="9618"/>
                    <a:pt x="11755" y="9552"/>
                    <a:pt x="11705" y="9510"/>
                  </a:cubicBezTo>
                  <a:cubicBezTo>
                    <a:pt x="11713" y="9489"/>
                    <a:pt x="11729" y="9492"/>
                    <a:pt x="11743" y="9490"/>
                  </a:cubicBezTo>
                  <a:cubicBezTo>
                    <a:pt x="11869" y="9475"/>
                    <a:pt x="11965" y="9595"/>
                    <a:pt x="11935" y="9703"/>
                  </a:cubicBezTo>
                  <a:cubicBezTo>
                    <a:pt x="11922" y="9749"/>
                    <a:pt x="11953" y="9775"/>
                    <a:pt x="11983" y="9796"/>
                  </a:cubicBezTo>
                  <a:cubicBezTo>
                    <a:pt x="12027" y="9826"/>
                    <a:pt x="12076" y="9849"/>
                    <a:pt x="12119" y="9883"/>
                  </a:cubicBezTo>
                  <a:cubicBezTo>
                    <a:pt x="12125" y="9888"/>
                    <a:pt x="12134" y="9890"/>
                    <a:pt x="12142" y="9885"/>
                  </a:cubicBezTo>
                  <a:cubicBezTo>
                    <a:pt x="12149" y="9880"/>
                    <a:pt x="12150" y="9872"/>
                    <a:pt x="12149" y="9863"/>
                  </a:cubicBezTo>
                  <a:cubicBezTo>
                    <a:pt x="12145" y="9844"/>
                    <a:pt x="12136" y="9828"/>
                    <a:pt x="12127" y="9812"/>
                  </a:cubicBezTo>
                  <a:cubicBezTo>
                    <a:pt x="12085" y="9740"/>
                    <a:pt x="12111" y="9666"/>
                    <a:pt x="12161" y="9612"/>
                  </a:cubicBezTo>
                  <a:cubicBezTo>
                    <a:pt x="12180" y="9591"/>
                    <a:pt x="12193" y="9592"/>
                    <a:pt x="12212" y="9615"/>
                  </a:cubicBezTo>
                  <a:cubicBezTo>
                    <a:pt x="12229" y="9636"/>
                    <a:pt x="12245" y="9658"/>
                    <a:pt x="12260" y="9681"/>
                  </a:cubicBezTo>
                  <a:cubicBezTo>
                    <a:pt x="12302" y="9747"/>
                    <a:pt x="12309" y="9813"/>
                    <a:pt x="12264" y="9884"/>
                  </a:cubicBezTo>
                  <a:cubicBezTo>
                    <a:pt x="12220" y="9954"/>
                    <a:pt x="12236" y="10012"/>
                    <a:pt x="12311" y="10048"/>
                  </a:cubicBezTo>
                  <a:cubicBezTo>
                    <a:pt x="12382" y="10083"/>
                    <a:pt x="12426" y="10134"/>
                    <a:pt x="12437" y="10213"/>
                  </a:cubicBezTo>
                  <a:cubicBezTo>
                    <a:pt x="12446" y="10275"/>
                    <a:pt x="12476" y="10326"/>
                    <a:pt x="12518" y="10372"/>
                  </a:cubicBezTo>
                  <a:cubicBezTo>
                    <a:pt x="12563" y="10420"/>
                    <a:pt x="12607" y="10471"/>
                    <a:pt x="12651" y="10521"/>
                  </a:cubicBezTo>
                  <a:cubicBezTo>
                    <a:pt x="12658" y="10528"/>
                    <a:pt x="12665" y="10538"/>
                    <a:pt x="12677" y="10532"/>
                  </a:cubicBezTo>
                  <a:cubicBezTo>
                    <a:pt x="12691" y="10525"/>
                    <a:pt x="12693" y="10511"/>
                    <a:pt x="12686" y="10500"/>
                  </a:cubicBezTo>
                  <a:cubicBezTo>
                    <a:pt x="12666" y="10465"/>
                    <a:pt x="12654" y="10428"/>
                    <a:pt x="12657" y="10387"/>
                  </a:cubicBezTo>
                  <a:cubicBezTo>
                    <a:pt x="12658" y="10370"/>
                    <a:pt x="12645" y="10362"/>
                    <a:pt x="12631" y="10356"/>
                  </a:cubicBezTo>
                  <a:cubicBezTo>
                    <a:pt x="12527" y="10310"/>
                    <a:pt x="12491" y="10214"/>
                    <a:pt x="12457" y="10117"/>
                  </a:cubicBezTo>
                  <a:cubicBezTo>
                    <a:pt x="12449" y="10093"/>
                    <a:pt x="12461" y="10082"/>
                    <a:pt x="12486" y="10084"/>
                  </a:cubicBezTo>
                  <a:cubicBezTo>
                    <a:pt x="12567" y="10092"/>
                    <a:pt x="12620" y="10136"/>
                    <a:pt x="12653" y="10208"/>
                  </a:cubicBezTo>
                  <a:cubicBezTo>
                    <a:pt x="12660" y="10223"/>
                    <a:pt x="12665" y="10239"/>
                    <a:pt x="12672" y="10254"/>
                  </a:cubicBezTo>
                  <a:cubicBezTo>
                    <a:pt x="12678" y="10265"/>
                    <a:pt x="12687" y="10275"/>
                    <a:pt x="12702" y="10272"/>
                  </a:cubicBezTo>
                  <a:cubicBezTo>
                    <a:pt x="12716" y="10269"/>
                    <a:pt x="12720" y="10256"/>
                    <a:pt x="12722" y="10244"/>
                  </a:cubicBezTo>
                  <a:cubicBezTo>
                    <a:pt x="12724" y="10232"/>
                    <a:pt x="12726" y="10219"/>
                    <a:pt x="12725" y="10207"/>
                  </a:cubicBezTo>
                  <a:cubicBezTo>
                    <a:pt x="12720" y="10167"/>
                    <a:pt x="12726" y="10133"/>
                    <a:pt x="12756" y="10104"/>
                  </a:cubicBezTo>
                  <a:cubicBezTo>
                    <a:pt x="12776" y="10085"/>
                    <a:pt x="12778" y="10058"/>
                    <a:pt x="12767" y="10034"/>
                  </a:cubicBezTo>
                  <a:cubicBezTo>
                    <a:pt x="12745" y="9989"/>
                    <a:pt x="12718" y="9947"/>
                    <a:pt x="12695" y="9903"/>
                  </a:cubicBezTo>
                  <a:cubicBezTo>
                    <a:pt x="12663" y="9838"/>
                    <a:pt x="12603" y="9803"/>
                    <a:pt x="12550" y="9759"/>
                  </a:cubicBezTo>
                  <a:cubicBezTo>
                    <a:pt x="12516" y="9731"/>
                    <a:pt x="12494" y="9695"/>
                    <a:pt x="12477" y="9654"/>
                  </a:cubicBezTo>
                  <a:cubicBezTo>
                    <a:pt x="12452" y="9594"/>
                    <a:pt x="12433" y="9533"/>
                    <a:pt x="12430" y="9468"/>
                  </a:cubicBezTo>
                  <a:cubicBezTo>
                    <a:pt x="12429" y="9450"/>
                    <a:pt x="12421" y="9436"/>
                    <a:pt x="12414" y="9421"/>
                  </a:cubicBezTo>
                  <a:cubicBezTo>
                    <a:pt x="12376" y="9347"/>
                    <a:pt x="12350" y="9268"/>
                    <a:pt x="12320" y="9191"/>
                  </a:cubicBezTo>
                  <a:cubicBezTo>
                    <a:pt x="12279" y="9086"/>
                    <a:pt x="12228" y="8987"/>
                    <a:pt x="12165" y="8894"/>
                  </a:cubicBezTo>
                  <a:cubicBezTo>
                    <a:pt x="12161" y="8889"/>
                    <a:pt x="12156" y="8885"/>
                    <a:pt x="12153" y="8879"/>
                  </a:cubicBezTo>
                  <a:cubicBezTo>
                    <a:pt x="12109" y="8777"/>
                    <a:pt x="12030" y="8703"/>
                    <a:pt x="11952" y="8628"/>
                  </a:cubicBezTo>
                  <a:cubicBezTo>
                    <a:pt x="11902" y="8580"/>
                    <a:pt x="11865" y="8522"/>
                    <a:pt x="11827" y="8465"/>
                  </a:cubicBezTo>
                  <a:cubicBezTo>
                    <a:pt x="11794" y="8414"/>
                    <a:pt x="11761" y="8364"/>
                    <a:pt x="11715" y="8324"/>
                  </a:cubicBezTo>
                  <a:cubicBezTo>
                    <a:pt x="11623" y="8242"/>
                    <a:pt x="11533" y="8160"/>
                    <a:pt x="11434" y="8086"/>
                  </a:cubicBezTo>
                  <a:cubicBezTo>
                    <a:pt x="11360" y="8030"/>
                    <a:pt x="11255" y="8066"/>
                    <a:pt x="11230" y="8155"/>
                  </a:cubicBezTo>
                  <a:cubicBezTo>
                    <a:pt x="11227" y="8165"/>
                    <a:pt x="11225" y="8177"/>
                    <a:pt x="11229" y="8185"/>
                  </a:cubicBezTo>
                  <a:cubicBezTo>
                    <a:pt x="11249" y="8227"/>
                    <a:pt x="11257" y="8278"/>
                    <a:pt x="11306" y="8302"/>
                  </a:cubicBezTo>
                  <a:cubicBezTo>
                    <a:pt x="11320" y="8309"/>
                    <a:pt x="11332" y="8323"/>
                    <a:pt x="11347" y="8330"/>
                  </a:cubicBezTo>
                  <a:cubicBezTo>
                    <a:pt x="11420" y="8365"/>
                    <a:pt x="11446" y="8433"/>
                    <a:pt x="11465" y="8505"/>
                  </a:cubicBezTo>
                  <a:cubicBezTo>
                    <a:pt x="11478" y="8555"/>
                    <a:pt x="11455" y="8584"/>
                    <a:pt x="11404" y="8577"/>
                  </a:cubicBezTo>
                  <a:cubicBezTo>
                    <a:pt x="11324" y="8565"/>
                    <a:pt x="11253" y="8528"/>
                    <a:pt x="11257" y="8425"/>
                  </a:cubicBezTo>
                  <a:cubicBezTo>
                    <a:pt x="11258" y="8401"/>
                    <a:pt x="11251" y="8380"/>
                    <a:pt x="11237" y="8361"/>
                  </a:cubicBezTo>
                  <a:cubicBezTo>
                    <a:pt x="11225" y="8345"/>
                    <a:pt x="11206" y="8348"/>
                    <a:pt x="11198" y="8367"/>
                  </a:cubicBezTo>
                  <a:cubicBezTo>
                    <a:pt x="11170" y="8430"/>
                    <a:pt x="11192" y="8510"/>
                    <a:pt x="11254" y="8548"/>
                  </a:cubicBezTo>
                  <a:cubicBezTo>
                    <a:pt x="11309" y="8581"/>
                    <a:pt x="11345" y="8626"/>
                    <a:pt x="11364" y="8686"/>
                  </a:cubicBezTo>
                  <a:cubicBezTo>
                    <a:pt x="11371" y="8711"/>
                    <a:pt x="11389" y="8728"/>
                    <a:pt x="11403" y="8748"/>
                  </a:cubicBezTo>
                  <a:cubicBezTo>
                    <a:pt x="11410" y="8759"/>
                    <a:pt x="11418" y="8769"/>
                    <a:pt x="11409" y="8782"/>
                  </a:cubicBezTo>
                  <a:cubicBezTo>
                    <a:pt x="11400" y="8794"/>
                    <a:pt x="11388" y="8799"/>
                    <a:pt x="11376" y="8794"/>
                  </a:cubicBezTo>
                  <a:cubicBezTo>
                    <a:pt x="11311" y="8769"/>
                    <a:pt x="11236" y="8761"/>
                    <a:pt x="11200" y="8688"/>
                  </a:cubicBezTo>
                  <a:cubicBezTo>
                    <a:pt x="11196" y="8680"/>
                    <a:pt x="11186" y="8673"/>
                    <a:pt x="11178" y="8667"/>
                  </a:cubicBezTo>
                  <a:cubicBezTo>
                    <a:pt x="11176" y="8665"/>
                    <a:pt x="11171" y="8666"/>
                    <a:pt x="11163" y="8666"/>
                  </a:cubicBezTo>
                  <a:cubicBezTo>
                    <a:pt x="11160" y="8695"/>
                    <a:pt x="11164" y="8721"/>
                    <a:pt x="11187" y="8744"/>
                  </a:cubicBezTo>
                  <a:cubicBezTo>
                    <a:pt x="11227" y="8783"/>
                    <a:pt x="11259" y="8828"/>
                    <a:pt x="11285" y="8879"/>
                  </a:cubicBezTo>
                  <a:cubicBezTo>
                    <a:pt x="11308" y="8924"/>
                    <a:pt x="11307" y="8967"/>
                    <a:pt x="11304" y="9012"/>
                  </a:cubicBezTo>
                  <a:cubicBezTo>
                    <a:pt x="11302" y="9058"/>
                    <a:pt x="11281" y="9066"/>
                    <a:pt x="11237" y="9044"/>
                  </a:cubicBezTo>
                  <a:cubicBezTo>
                    <a:pt x="11184" y="9018"/>
                    <a:pt x="11139" y="8981"/>
                    <a:pt x="11099" y="8939"/>
                  </a:cubicBezTo>
                  <a:cubicBezTo>
                    <a:pt x="11054" y="8893"/>
                    <a:pt x="11047" y="8848"/>
                    <a:pt x="11080" y="8793"/>
                  </a:cubicBezTo>
                  <a:cubicBezTo>
                    <a:pt x="11109" y="8744"/>
                    <a:pt x="11095" y="8696"/>
                    <a:pt x="11090" y="8647"/>
                  </a:cubicBezTo>
                  <a:cubicBezTo>
                    <a:pt x="11089" y="8637"/>
                    <a:pt x="11086" y="8626"/>
                    <a:pt x="11073" y="8625"/>
                  </a:cubicBezTo>
                  <a:cubicBezTo>
                    <a:pt x="11064" y="8624"/>
                    <a:pt x="11058" y="8631"/>
                    <a:pt x="11054" y="8639"/>
                  </a:cubicBezTo>
                  <a:cubicBezTo>
                    <a:pt x="11026" y="8689"/>
                    <a:pt x="10977" y="8720"/>
                    <a:pt x="10938" y="8760"/>
                  </a:cubicBezTo>
                  <a:cubicBezTo>
                    <a:pt x="10909" y="8789"/>
                    <a:pt x="10894" y="8783"/>
                    <a:pt x="10885" y="8742"/>
                  </a:cubicBezTo>
                  <a:cubicBezTo>
                    <a:pt x="10870" y="8669"/>
                    <a:pt x="10899" y="8608"/>
                    <a:pt x="10941" y="8552"/>
                  </a:cubicBezTo>
                  <a:cubicBezTo>
                    <a:pt x="10968" y="8517"/>
                    <a:pt x="10998" y="8488"/>
                    <a:pt x="11048" y="8488"/>
                  </a:cubicBezTo>
                  <a:cubicBezTo>
                    <a:pt x="11075" y="8488"/>
                    <a:pt x="11092" y="8467"/>
                    <a:pt x="11096" y="8439"/>
                  </a:cubicBezTo>
                  <a:cubicBezTo>
                    <a:pt x="11102" y="8404"/>
                    <a:pt x="11108" y="8370"/>
                    <a:pt x="11106" y="8334"/>
                  </a:cubicBezTo>
                  <a:cubicBezTo>
                    <a:pt x="11082" y="8331"/>
                    <a:pt x="11070" y="8345"/>
                    <a:pt x="11063" y="8358"/>
                  </a:cubicBezTo>
                  <a:cubicBezTo>
                    <a:pt x="11028" y="8422"/>
                    <a:pt x="10959" y="8446"/>
                    <a:pt x="10909" y="8492"/>
                  </a:cubicBezTo>
                  <a:cubicBezTo>
                    <a:pt x="10893" y="8507"/>
                    <a:pt x="10877" y="8497"/>
                    <a:pt x="10871" y="8477"/>
                  </a:cubicBezTo>
                  <a:cubicBezTo>
                    <a:pt x="10863" y="8448"/>
                    <a:pt x="10867" y="8419"/>
                    <a:pt x="10870" y="8390"/>
                  </a:cubicBezTo>
                  <a:cubicBezTo>
                    <a:pt x="10879" y="8306"/>
                    <a:pt x="10961" y="8227"/>
                    <a:pt x="11043" y="8220"/>
                  </a:cubicBezTo>
                  <a:cubicBezTo>
                    <a:pt x="11058" y="8219"/>
                    <a:pt x="11073" y="8218"/>
                    <a:pt x="11087" y="8216"/>
                  </a:cubicBezTo>
                  <a:cubicBezTo>
                    <a:pt x="11115" y="8213"/>
                    <a:pt x="11135" y="8198"/>
                    <a:pt x="11138" y="8170"/>
                  </a:cubicBezTo>
                  <a:cubicBezTo>
                    <a:pt x="11142" y="8131"/>
                    <a:pt x="11152" y="8097"/>
                    <a:pt x="11177" y="8067"/>
                  </a:cubicBezTo>
                  <a:cubicBezTo>
                    <a:pt x="11184" y="8058"/>
                    <a:pt x="11187" y="8047"/>
                    <a:pt x="11180" y="8037"/>
                  </a:cubicBezTo>
                  <a:cubicBezTo>
                    <a:pt x="11174" y="8027"/>
                    <a:pt x="11162" y="8032"/>
                    <a:pt x="11152" y="8034"/>
                  </a:cubicBezTo>
                  <a:cubicBezTo>
                    <a:pt x="11132" y="8036"/>
                    <a:pt x="11119" y="8051"/>
                    <a:pt x="11104" y="8062"/>
                  </a:cubicBezTo>
                  <a:cubicBezTo>
                    <a:pt x="11055" y="8102"/>
                    <a:pt x="11006" y="8134"/>
                    <a:pt x="10937" y="8129"/>
                  </a:cubicBezTo>
                  <a:cubicBezTo>
                    <a:pt x="10894" y="8127"/>
                    <a:pt x="10847" y="8134"/>
                    <a:pt x="10808" y="8152"/>
                  </a:cubicBezTo>
                  <a:cubicBezTo>
                    <a:pt x="10716" y="8194"/>
                    <a:pt x="10632" y="8272"/>
                    <a:pt x="10663" y="8368"/>
                  </a:cubicBezTo>
                  <a:cubicBezTo>
                    <a:pt x="10676" y="8411"/>
                    <a:pt x="10709" y="8437"/>
                    <a:pt x="10739" y="8465"/>
                  </a:cubicBezTo>
                  <a:cubicBezTo>
                    <a:pt x="10782" y="8504"/>
                    <a:pt x="10813" y="8548"/>
                    <a:pt x="10825" y="8606"/>
                  </a:cubicBezTo>
                  <a:cubicBezTo>
                    <a:pt x="10833" y="8644"/>
                    <a:pt x="10828" y="8651"/>
                    <a:pt x="10791" y="8648"/>
                  </a:cubicBezTo>
                  <a:cubicBezTo>
                    <a:pt x="10742" y="8645"/>
                    <a:pt x="10698" y="8627"/>
                    <a:pt x="10655" y="8606"/>
                  </a:cubicBezTo>
                  <a:cubicBezTo>
                    <a:pt x="10629" y="8592"/>
                    <a:pt x="10625" y="8562"/>
                    <a:pt x="10612" y="8539"/>
                  </a:cubicBezTo>
                  <a:cubicBezTo>
                    <a:pt x="10604" y="8526"/>
                    <a:pt x="10610" y="8500"/>
                    <a:pt x="10586" y="8503"/>
                  </a:cubicBezTo>
                  <a:cubicBezTo>
                    <a:pt x="10566" y="8505"/>
                    <a:pt x="10569" y="8528"/>
                    <a:pt x="10563" y="8543"/>
                  </a:cubicBezTo>
                  <a:cubicBezTo>
                    <a:pt x="10561" y="8551"/>
                    <a:pt x="10558" y="8559"/>
                    <a:pt x="10556" y="8567"/>
                  </a:cubicBezTo>
                  <a:cubicBezTo>
                    <a:pt x="10527" y="8651"/>
                    <a:pt x="10550" y="8713"/>
                    <a:pt x="10628" y="8755"/>
                  </a:cubicBezTo>
                  <a:cubicBezTo>
                    <a:pt x="10684" y="8786"/>
                    <a:pt x="10730" y="8827"/>
                    <a:pt x="10756" y="8887"/>
                  </a:cubicBezTo>
                  <a:cubicBezTo>
                    <a:pt x="10758" y="8893"/>
                    <a:pt x="10762" y="8898"/>
                    <a:pt x="10763" y="8904"/>
                  </a:cubicBezTo>
                  <a:cubicBezTo>
                    <a:pt x="10770" y="8928"/>
                    <a:pt x="10783" y="8957"/>
                    <a:pt x="10763" y="8975"/>
                  </a:cubicBezTo>
                  <a:cubicBezTo>
                    <a:pt x="10741" y="8994"/>
                    <a:pt x="10708" y="8990"/>
                    <a:pt x="10681" y="8976"/>
                  </a:cubicBezTo>
                  <a:cubicBezTo>
                    <a:pt x="10629" y="8950"/>
                    <a:pt x="10588" y="8914"/>
                    <a:pt x="10575" y="8853"/>
                  </a:cubicBezTo>
                  <a:cubicBezTo>
                    <a:pt x="10573" y="8844"/>
                    <a:pt x="10570" y="8832"/>
                    <a:pt x="10563" y="8825"/>
                  </a:cubicBezTo>
                  <a:cubicBezTo>
                    <a:pt x="10555" y="8817"/>
                    <a:pt x="10543" y="8808"/>
                    <a:pt x="10530" y="8815"/>
                  </a:cubicBezTo>
                  <a:cubicBezTo>
                    <a:pt x="10520" y="8820"/>
                    <a:pt x="10521" y="8832"/>
                    <a:pt x="10523" y="8843"/>
                  </a:cubicBezTo>
                  <a:cubicBezTo>
                    <a:pt x="10528" y="8877"/>
                    <a:pt x="10534" y="8912"/>
                    <a:pt x="10557" y="8942"/>
                  </a:cubicBezTo>
                  <a:cubicBezTo>
                    <a:pt x="10572" y="8961"/>
                    <a:pt x="10581" y="8985"/>
                    <a:pt x="10591" y="9008"/>
                  </a:cubicBezTo>
                  <a:cubicBezTo>
                    <a:pt x="10602" y="9031"/>
                    <a:pt x="10604" y="9055"/>
                    <a:pt x="10594" y="9080"/>
                  </a:cubicBezTo>
                  <a:cubicBezTo>
                    <a:pt x="10569" y="9148"/>
                    <a:pt x="10545" y="9216"/>
                    <a:pt x="10498" y="9282"/>
                  </a:cubicBezTo>
                  <a:cubicBezTo>
                    <a:pt x="10447" y="9226"/>
                    <a:pt x="10401" y="9168"/>
                    <a:pt x="10384" y="9094"/>
                  </a:cubicBezTo>
                  <a:cubicBezTo>
                    <a:pt x="10373" y="9049"/>
                    <a:pt x="10378" y="9001"/>
                    <a:pt x="10409" y="8963"/>
                  </a:cubicBezTo>
                  <a:cubicBezTo>
                    <a:pt x="10442" y="8925"/>
                    <a:pt x="10435" y="8877"/>
                    <a:pt x="10446" y="8834"/>
                  </a:cubicBezTo>
                  <a:cubicBezTo>
                    <a:pt x="10449" y="8822"/>
                    <a:pt x="10446" y="8808"/>
                    <a:pt x="10432" y="8802"/>
                  </a:cubicBezTo>
                  <a:cubicBezTo>
                    <a:pt x="10419" y="8797"/>
                    <a:pt x="10408" y="8803"/>
                    <a:pt x="10399" y="8813"/>
                  </a:cubicBezTo>
                  <a:cubicBezTo>
                    <a:pt x="10352" y="8868"/>
                    <a:pt x="10290" y="8886"/>
                    <a:pt x="10220" y="8886"/>
                  </a:cubicBezTo>
                  <a:cubicBezTo>
                    <a:pt x="10169" y="8886"/>
                    <a:pt x="10157" y="8867"/>
                    <a:pt x="10177" y="8820"/>
                  </a:cubicBezTo>
                  <a:cubicBezTo>
                    <a:pt x="10182" y="8811"/>
                    <a:pt x="10187" y="8802"/>
                    <a:pt x="10194" y="8793"/>
                  </a:cubicBezTo>
                  <a:cubicBezTo>
                    <a:pt x="10209" y="8772"/>
                    <a:pt x="10210" y="8751"/>
                    <a:pt x="10195" y="8730"/>
                  </a:cubicBezTo>
                  <a:cubicBezTo>
                    <a:pt x="10155" y="8671"/>
                    <a:pt x="10162" y="8607"/>
                    <a:pt x="10180" y="8544"/>
                  </a:cubicBezTo>
                  <a:cubicBezTo>
                    <a:pt x="10192" y="8500"/>
                    <a:pt x="10207" y="8456"/>
                    <a:pt x="10222" y="8413"/>
                  </a:cubicBezTo>
                  <a:cubicBezTo>
                    <a:pt x="10246" y="8344"/>
                    <a:pt x="10298" y="8319"/>
                    <a:pt x="10362" y="8310"/>
                  </a:cubicBezTo>
                  <a:cubicBezTo>
                    <a:pt x="10390" y="8306"/>
                    <a:pt x="10420" y="8308"/>
                    <a:pt x="10449" y="8310"/>
                  </a:cubicBezTo>
                  <a:cubicBezTo>
                    <a:pt x="10495" y="8313"/>
                    <a:pt x="10530" y="8294"/>
                    <a:pt x="10555" y="8256"/>
                  </a:cubicBezTo>
                  <a:cubicBezTo>
                    <a:pt x="10570" y="8234"/>
                    <a:pt x="10585" y="8212"/>
                    <a:pt x="10600" y="8189"/>
                  </a:cubicBezTo>
                  <a:cubicBezTo>
                    <a:pt x="10613" y="8167"/>
                    <a:pt x="10607" y="8150"/>
                    <a:pt x="10585" y="8137"/>
                  </a:cubicBezTo>
                  <a:cubicBezTo>
                    <a:pt x="10537" y="8111"/>
                    <a:pt x="10502" y="8116"/>
                    <a:pt x="10464" y="8159"/>
                  </a:cubicBezTo>
                  <a:cubicBezTo>
                    <a:pt x="10441" y="8184"/>
                    <a:pt x="10415" y="8202"/>
                    <a:pt x="10382" y="8213"/>
                  </a:cubicBezTo>
                  <a:cubicBezTo>
                    <a:pt x="10342" y="8225"/>
                    <a:pt x="10308" y="8251"/>
                    <a:pt x="10273" y="8274"/>
                  </a:cubicBezTo>
                  <a:cubicBezTo>
                    <a:pt x="10262" y="8281"/>
                    <a:pt x="10253" y="8298"/>
                    <a:pt x="10236" y="8290"/>
                  </a:cubicBezTo>
                  <a:cubicBezTo>
                    <a:pt x="10215" y="8280"/>
                    <a:pt x="10231" y="8261"/>
                    <a:pt x="10230" y="8245"/>
                  </a:cubicBezTo>
                  <a:cubicBezTo>
                    <a:pt x="10230" y="8239"/>
                    <a:pt x="10232" y="8233"/>
                    <a:pt x="10232" y="8227"/>
                  </a:cubicBezTo>
                  <a:cubicBezTo>
                    <a:pt x="10227" y="8158"/>
                    <a:pt x="10258" y="8116"/>
                    <a:pt x="10323" y="8098"/>
                  </a:cubicBezTo>
                  <a:cubicBezTo>
                    <a:pt x="10336" y="8094"/>
                    <a:pt x="10346" y="8088"/>
                    <a:pt x="10347" y="8073"/>
                  </a:cubicBezTo>
                  <a:cubicBezTo>
                    <a:pt x="10347" y="8056"/>
                    <a:pt x="10337" y="8046"/>
                    <a:pt x="10322" y="8040"/>
                  </a:cubicBezTo>
                  <a:cubicBezTo>
                    <a:pt x="10315" y="8037"/>
                    <a:pt x="10306" y="8035"/>
                    <a:pt x="10298" y="8034"/>
                  </a:cubicBezTo>
                  <a:cubicBezTo>
                    <a:pt x="10240" y="8030"/>
                    <a:pt x="10197" y="7997"/>
                    <a:pt x="10163" y="7954"/>
                  </a:cubicBezTo>
                  <a:cubicBezTo>
                    <a:pt x="10124" y="7905"/>
                    <a:pt x="10088" y="7854"/>
                    <a:pt x="10052" y="7803"/>
                  </a:cubicBezTo>
                  <a:cubicBezTo>
                    <a:pt x="10033" y="7776"/>
                    <a:pt x="10041" y="7761"/>
                    <a:pt x="10074" y="7759"/>
                  </a:cubicBezTo>
                  <a:cubicBezTo>
                    <a:pt x="10127" y="7755"/>
                    <a:pt x="10178" y="7772"/>
                    <a:pt x="10223" y="7795"/>
                  </a:cubicBezTo>
                  <a:cubicBezTo>
                    <a:pt x="10265" y="7816"/>
                    <a:pt x="10286" y="7865"/>
                    <a:pt x="10313" y="7904"/>
                  </a:cubicBezTo>
                  <a:cubicBezTo>
                    <a:pt x="10323" y="7918"/>
                    <a:pt x="10330" y="7933"/>
                    <a:pt x="10340" y="7946"/>
                  </a:cubicBezTo>
                  <a:cubicBezTo>
                    <a:pt x="10346" y="7955"/>
                    <a:pt x="10356" y="7959"/>
                    <a:pt x="10368" y="7956"/>
                  </a:cubicBezTo>
                  <a:cubicBezTo>
                    <a:pt x="10383" y="7952"/>
                    <a:pt x="10385" y="7940"/>
                    <a:pt x="10387" y="7927"/>
                  </a:cubicBezTo>
                  <a:cubicBezTo>
                    <a:pt x="10387" y="7925"/>
                    <a:pt x="10388" y="7923"/>
                    <a:pt x="10387" y="7921"/>
                  </a:cubicBezTo>
                  <a:cubicBezTo>
                    <a:pt x="10357" y="7837"/>
                    <a:pt x="10411" y="7769"/>
                    <a:pt x="10431" y="7694"/>
                  </a:cubicBezTo>
                  <a:cubicBezTo>
                    <a:pt x="10438" y="7669"/>
                    <a:pt x="10456" y="7665"/>
                    <a:pt x="10472" y="7683"/>
                  </a:cubicBezTo>
                  <a:cubicBezTo>
                    <a:pt x="10505" y="7721"/>
                    <a:pt x="10541" y="7757"/>
                    <a:pt x="10565" y="7800"/>
                  </a:cubicBezTo>
                  <a:cubicBezTo>
                    <a:pt x="10587" y="7841"/>
                    <a:pt x="10578" y="7889"/>
                    <a:pt x="10559" y="7933"/>
                  </a:cubicBezTo>
                  <a:cubicBezTo>
                    <a:pt x="10555" y="7942"/>
                    <a:pt x="10547" y="7950"/>
                    <a:pt x="10542" y="7959"/>
                  </a:cubicBezTo>
                  <a:cubicBezTo>
                    <a:pt x="10520" y="8003"/>
                    <a:pt x="10535" y="8035"/>
                    <a:pt x="10584" y="8037"/>
                  </a:cubicBezTo>
                  <a:cubicBezTo>
                    <a:pt x="10728" y="8042"/>
                    <a:pt x="10871" y="8049"/>
                    <a:pt x="11010" y="8001"/>
                  </a:cubicBezTo>
                  <a:cubicBezTo>
                    <a:pt x="11050" y="7987"/>
                    <a:pt x="11084" y="7964"/>
                    <a:pt x="11120" y="7943"/>
                  </a:cubicBezTo>
                  <a:cubicBezTo>
                    <a:pt x="11162" y="7919"/>
                    <a:pt x="11206" y="7900"/>
                    <a:pt x="11255" y="7897"/>
                  </a:cubicBezTo>
                  <a:cubicBezTo>
                    <a:pt x="11269" y="7897"/>
                    <a:pt x="11286" y="7897"/>
                    <a:pt x="11290" y="7880"/>
                  </a:cubicBezTo>
                  <a:cubicBezTo>
                    <a:pt x="11294" y="7866"/>
                    <a:pt x="11283" y="7856"/>
                    <a:pt x="11274" y="7848"/>
                  </a:cubicBezTo>
                  <a:cubicBezTo>
                    <a:pt x="11215" y="7798"/>
                    <a:pt x="11158" y="7745"/>
                    <a:pt x="11095" y="7702"/>
                  </a:cubicBezTo>
                  <a:cubicBezTo>
                    <a:pt x="11004" y="7640"/>
                    <a:pt x="10914" y="7578"/>
                    <a:pt x="10820" y="7520"/>
                  </a:cubicBezTo>
                  <a:cubicBezTo>
                    <a:pt x="10721" y="7460"/>
                    <a:pt x="10618" y="7405"/>
                    <a:pt x="10512" y="7359"/>
                  </a:cubicBezTo>
                  <a:cubicBezTo>
                    <a:pt x="10419" y="7319"/>
                    <a:pt x="10317" y="7302"/>
                    <a:pt x="10215" y="7293"/>
                  </a:cubicBezTo>
                  <a:cubicBezTo>
                    <a:pt x="10195" y="7291"/>
                    <a:pt x="10179" y="7296"/>
                    <a:pt x="10169" y="7315"/>
                  </a:cubicBezTo>
                  <a:cubicBezTo>
                    <a:pt x="10151" y="7348"/>
                    <a:pt x="10128" y="7378"/>
                    <a:pt x="10118" y="7415"/>
                  </a:cubicBezTo>
                  <a:cubicBezTo>
                    <a:pt x="10108" y="7456"/>
                    <a:pt x="10085" y="7491"/>
                    <a:pt x="10066" y="7528"/>
                  </a:cubicBezTo>
                  <a:cubicBezTo>
                    <a:pt x="9979" y="7696"/>
                    <a:pt x="9884" y="7860"/>
                    <a:pt x="9783" y="8019"/>
                  </a:cubicBezTo>
                  <a:cubicBezTo>
                    <a:pt x="9682" y="8179"/>
                    <a:pt x="9595" y="8347"/>
                    <a:pt x="9517" y="8519"/>
                  </a:cubicBezTo>
                  <a:cubicBezTo>
                    <a:pt x="9510" y="8534"/>
                    <a:pt x="9504" y="8550"/>
                    <a:pt x="9493" y="8562"/>
                  </a:cubicBezTo>
                  <a:cubicBezTo>
                    <a:pt x="9469" y="8588"/>
                    <a:pt x="9464" y="8618"/>
                    <a:pt x="9455" y="8651"/>
                  </a:cubicBezTo>
                  <a:cubicBezTo>
                    <a:pt x="9442" y="8702"/>
                    <a:pt x="9414" y="8750"/>
                    <a:pt x="9388" y="8797"/>
                  </a:cubicBezTo>
                  <a:cubicBezTo>
                    <a:pt x="9297" y="8970"/>
                    <a:pt x="9204" y="9141"/>
                    <a:pt x="9112" y="9313"/>
                  </a:cubicBezTo>
                  <a:cubicBezTo>
                    <a:pt x="9077" y="9379"/>
                    <a:pt x="9034" y="9441"/>
                    <a:pt x="8998" y="9506"/>
                  </a:cubicBezTo>
                  <a:cubicBezTo>
                    <a:pt x="8925" y="9639"/>
                    <a:pt x="8847" y="9769"/>
                    <a:pt x="8770" y="9900"/>
                  </a:cubicBezTo>
                  <a:cubicBezTo>
                    <a:pt x="8708" y="10007"/>
                    <a:pt x="8643" y="10114"/>
                    <a:pt x="8584" y="10223"/>
                  </a:cubicBezTo>
                  <a:cubicBezTo>
                    <a:pt x="8479" y="10419"/>
                    <a:pt x="8362" y="10608"/>
                    <a:pt x="8267" y="10809"/>
                  </a:cubicBezTo>
                  <a:cubicBezTo>
                    <a:pt x="8244" y="10855"/>
                    <a:pt x="8221" y="10902"/>
                    <a:pt x="8192" y="10945"/>
                  </a:cubicBezTo>
                  <a:cubicBezTo>
                    <a:pt x="8165" y="10985"/>
                    <a:pt x="8157" y="11027"/>
                    <a:pt x="8157" y="11074"/>
                  </a:cubicBezTo>
                  <a:cubicBezTo>
                    <a:pt x="8157" y="11159"/>
                    <a:pt x="8126" y="11232"/>
                    <a:pt x="8067" y="11293"/>
                  </a:cubicBezTo>
                  <a:cubicBezTo>
                    <a:pt x="8062" y="11297"/>
                    <a:pt x="8058" y="11303"/>
                    <a:pt x="8053" y="11305"/>
                  </a:cubicBezTo>
                  <a:cubicBezTo>
                    <a:pt x="7964" y="11347"/>
                    <a:pt x="7948" y="11438"/>
                    <a:pt x="7912" y="11516"/>
                  </a:cubicBezTo>
                  <a:cubicBezTo>
                    <a:pt x="7903" y="11536"/>
                    <a:pt x="7897" y="11559"/>
                    <a:pt x="7888" y="11580"/>
                  </a:cubicBezTo>
                  <a:cubicBezTo>
                    <a:pt x="7842" y="11675"/>
                    <a:pt x="7795" y="11769"/>
                    <a:pt x="7749" y="11865"/>
                  </a:cubicBezTo>
                  <a:cubicBezTo>
                    <a:pt x="7734" y="11897"/>
                    <a:pt x="7717" y="11928"/>
                    <a:pt x="7710" y="11963"/>
                  </a:cubicBezTo>
                  <a:cubicBezTo>
                    <a:pt x="7709" y="11969"/>
                    <a:pt x="7709" y="11977"/>
                    <a:pt x="7705" y="11981"/>
                  </a:cubicBezTo>
                  <a:cubicBezTo>
                    <a:pt x="7658" y="12039"/>
                    <a:pt x="7647" y="12113"/>
                    <a:pt x="7610" y="12176"/>
                  </a:cubicBezTo>
                  <a:cubicBezTo>
                    <a:pt x="7577" y="12234"/>
                    <a:pt x="7550" y="12295"/>
                    <a:pt x="7529" y="12358"/>
                  </a:cubicBezTo>
                  <a:cubicBezTo>
                    <a:pt x="7505" y="12427"/>
                    <a:pt x="7467" y="12488"/>
                    <a:pt x="7441" y="12556"/>
                  </a:cubicBezTo>
                  <a:cubicBezTo>
                    <a:pt x="7425" y="12597"/>
                    <a:pt x="7398" y="12646"/>
                    <a:pt x="7422" y="12680"/>
                  </a:cubicBezTo>
                  <a:cubicBezTo>
                    <a:pt x="7450" y="12721"/>
                    <a:pt x="7504" y="12740"/>
                    <a:pt x="7557" y="12745"/>
                  </a:cubicBezTo>
                  <a:cubicBezTo>
                    <a:pt x="7634" y="12752"/>
                    <a:pt x="7710" y="12767"/>
                    <a:pt x="7787" y="12751"/>
                  </a:cubicBezTo>
                  <a:cubicBezTo>
                    <a:pt x="7803" y="12748"/>
                    <a:pt x="7821" y="12752"/>
                    <a:pt x="7837" y="12756"/>
                  </a:cubicBezTo>
                  <a:cubicBezTo>
                    <a:pt x="7872" y="12766"/>
                    <a:pt x="7881" y="12790"/>
                    <a:pt x="7861" y="12821"/>
                  </a:cubicBezTo>
                  <a:cubicBezTo>
                    <a:pt x="7840" y="12855"/>
                    <a:pt x="7813" y="12883"/>
                    <a:pt x="7782" y="12909"/>
                  </a:cubicBezTo>
                  <a:cubicBezTo>
                    <a:pt x="7725" y="12959"/>
                    <a:pt x="7721" y="12981"/>
                    <a:pt x="7749" y="13051"/>
                  </a:cubicBezTo>
                  <a:cubicBezTo>
                    <a:pt x="7756" y="13066"/>
                    <a:pt x="7766" y="13083"/>
                    <a:pt x="7764" y="13098"/>
                  </a:cubicBezTo>
                  <a:cubicBezTo>
                    <a:pt x="7757" y="13144"/>
                    <a:pt x="7787" y="13162"/>
                    <a:pt x="7817" y="13186"/>
                  </a:cubicBezTo>
                  <a:cubicBezTo>
                    <a:pt x="7862" y="13222"/>
                    <a:pt x="7905" y="13261"/>
                    <a:pt x="7954" y="13293"/>
                  </a:cubicBezTo>
                  <a:cubicBezTo>
                    <a:pt x="8098" y="13389"/>
                    <a:pt x="8255" y="13458"/>
                    <a:pt x="8416" y="13521"/>
                  </a:cubicBezTo>
                  <a:cubicBezTo>
                    <a:pt x="8481" y="13547"/>
                    <a:pt x="8545" y="13576"/>
                    <a:pt x="8615" y="13593"/>
                  </a:cubicBezTo>
                  <a:cubicBezTo>
                    <a:pt x="8656" y="13603"/>
                    <a:pt x="8660" y="13604"/>
                    <a:pt x="8671" y="13563"/>
                  </a:cubicBezTo>
                  <a:cubicBezTo>
                    <a:pt x="8679" y="13532"/>
                    <a:pt x="8695" y="13521"/>
                    <a:pt x="8725" y="13525"/>
                  </a:cubicBezTo>
                  <a:cubicBezTo>
                    <a:pt x="8748" y="13527"/>
                    <a:pt x="8771" y="13528"/>
                    <a:pt x="8793" y="13532"/>
                  </a:cubicBezTo>
                  <a:cubicBezTo>
                    <a:pt x="8834" y="13540"/>
                    <a:pt x="8837" y="13543"/>
                    <a:pt x="8834" y="13589"/>
                  </a:cubicBezTo>
                  <a:cubicBezTo>
                    <a:pt x="8832" y="13612"/>
                    <a:pt x="8842" y="13619"/>
                    <a:pt x="8862" y="13618"/>
                  </a:cubicBezTo>
                  <a:cubicBezTo>
                    <a:pt x="8924" y="13614"/>
                    <a:pt x="8987" y="13610"/>
                    <a:pt x="9049" y="13605"/>
                  </a:cubicBezTo>
                  <a:cubicBezTo>
                    <a:pt x="9053" y="13605"/>
                    <a:pt x="9057" y="13603"/>
                    <a:pt x="9061" y="13603"/>
                  </a:cubicBezTo>
                  <a:cubicBezTo>
                    <a:pt x="9099" y="13598"/>
                    <a:pt x="9131" y="13612"/>
                    <a:pt x="9141" y="13637"/>
                  </a:cubicBezTo>
                  <a:cubicBezTo>
                    <a:pt x="9150" y="13659"/>
                    <a:pt x="9132" y="13696"/>
                    <a:pt x="9102" y="13716"/>
                  </a:cubicBezTo>
                  <a:cubicBezTo>
                    <a:pt x="9087" y="13726"/>
                    <a:pt x="9065" y="13724"/>
                    <a:pt x="9054" y="13742"/>
                  </a:cubicBezTo>
                  <a:cubicBezTo>
                    <a:pt x="9049" y="13750"/>
                    <a:pt x="9040" y="13758"/>
                    <a:pt x="9046" y="13770"/>
                  </a:cubicBezTo>
                  <a:cubicBezTo>
                    <a:pt x="9051" y="13778"/>
                    <a:pt x="9059" y="13780"/>
                    <a:pt x="9067" y="13781"/>
                  </a:cubicBezTo>
                  <a:cubicBezTo>
                    <a:pt x="9103" y="13782"/>
                    <a:pt x="9138" y="13785"/>
                    <a:pt x="9173" y="13778"/>
                  </a:cubicBezTo>
                  <a:cubicBezTo>
                    <a:pt x="9224" y="13769"/>
                    <a:pt x="9251" y="13782"/>
                    <a:pt x="9270" y="13823"/>
                  </a:cubicBezTo>
                  <a:cubicBezTo>
                    <a:pt x="9286" y="13859"/>
                    <a:pt x="9275" y="13891"/>
                    <a:pt x="9244" y="13923"/>
                  </a:cubicBezTo>
                  <a:cubicBezTo>
                    <a:pt x="9210" y="13957"/>
                    <a:pt x="9163" y="13965"/>
                    <a:pt x="9125" y="13991"/>
                  </a:cubicBezTo>
                  <a:cubicBezTo>
                    <a:pt x="9114" y="13998"/>
                    <a:pt x="9101" y="13990"/>
                    <a:pt x="9089" y="13987"/>
                  </a:cubicBezTo>
                  <a:cubicBezTo>
                    <a:pt x="9005" y="13971"/>
                    <a:pt x="8925" y="13974"/>
                    <a:pt x="8848" y="14021"/>
                  </a:cubicBezTo>
                  <a:cubicBezTo>
                    <a:pt x="8798" y="14051"/>
                    <a:pt x="8743" y="14029"/>
                    <a:pt x="8691" y="14018"/>
                  </a:cubicBezTo>
                  <a:cubicBezTo>
                    <a:pt x="8675" y="14015"/>
                    <a:pt x="8667" y="13996"/>
                    <a:pt x="8659" y="13982"/>
                  </a:cubicBezTo>
                  <a:cubicBezTo>
                    <a:pt x="8620" y="13914"/>
                    <a:pt x="8555" y="13875"/>
                    <a:pt x="8492" y="13835"/>
                  </a:cubicBezTo>
                  <a:cubicBezTo>
                    <a:pt x="8459" y="13815"/>
                    <a:pt x="8419" y="13815"/>
                    <a:pt x="8382" y="13813"/>
                  </a:cubicBezTo>
                  <a:cubicBezTo>
                    <a:pt x="8313" y="13808"/>
                    <a:pt x="8251" y="13778"/>
                    <a:pt x="8185" y="13760"/>
                  </a:cubicBezTo>
                  <a:cubicBezTo>
                    <a:pt x="8134" y="13745"/>
                    <a:pt x="8089" y="13711"/>
                    <a:pt x="8040" y="13690"/>
                  </a:cubicBezTo>
                  <a:cubicBezTo>
                    <a:pt x="7939" y="13648"/>
                    <a:pt x="7860" y="13580"/>
                    <a:pt x="7785" y="13504"/>
                  </a:cubicBezTo>
                  <a:cubicBezTo>
                    <a:pt x="7768" y="13486"/>
                    <a:pt x="7748" y="13478"/>
                    <a:pt x="7723" y="13484"/>
                  </a:cubicBezTo>
                  <a:cubicBezTo>
                    <a:pt x="7719" y="13485"/>
                    <a:pt x="7715" y="13487"/>
                    <a:pt x="7711" y="13487"/>
                  </a:cubicBezTo>
                  <a:cubicBezTo>
                    <a:pt x="7641" y="13486"/>
                    <a:pt x="7603" y="13515"/>
                    <a:pt x="7587" y="13588"/>
                  </a:cubicBezTo>
                  <a:cubicBezTo>
                    <a:pt x="7570" y="13662"/>
                    <a:pt x="7493" y="13680"/>
                    <a:pt x="7436" y="13629"/>
                  </a:cubicBezTo>
                  <a:cubicBezTo>
                    <a:pt x="7409" y="13605"/>
                    <a:pt x="7383" y="13583"/>
                    <a:pt x="7350" y="13568"/>
                  </a:cubicBezTo>
                  <a:cubicBezTo>
                    <a:pt x="7322" y="13555"/>
                    <a:pt x="7309" y="13532"/>
                    <a:pt x="7310" y="13503"/>
                  </a:cubicBezTo>
                  <a:cubicBezTo>
                    <a:pt x="7311" y="13448"/>
                    <a:pt x="7279" y="13421"/>
                    <a:pt x="7235" y="13398"/>
                  </a:cubicBezTo>
                  <a:cubicBezTo>
                    <a:pt x="7216" y="13389"/>
                    <a:pt x="7202" y="13386"/>
                    <a:pt x="7183" y="13398"/>
                  </a:cubicBezTo>
                  <a:cubicBezTo>
                    <a:pt x="7152" y="13418"/>
                    <a:pt x="7117" y="13414"/>
                    <a:pt x="7087" y="13400"/>
                  </a:cubicBezTo>
                  <a:cubicBezTo>
                    <a:pt x="6996" y="13358"/>
                    <a:pt x="6893" y="13352"/>
                    <a:pt x="6805" y="13307"/>
                  </a:cubicBezTo>
                  <a:cubicBezTo>
                    <a:pt x="6728" y="13268"/>
                    <a:pt x="6645" y="13253"/>
                    <a:pt x="6567" y="13220"/>
                  </a:cubicBezTo>
                  <a:cubicBezTo>
                    <a:pt x="6512" y="13197"/>
                    <a:pt x="6456" y="13174"/>
                    <a:pt x="6398" y="13158"/>
                  </a:cubicBezTo>
                  <a:cubicBezTo>
                    <a:pt x="6320" y="13137"/>
                    <a:pt x="6250" y="13094"/>
                    <a:pt x="6173" y="13068"/>
                  </a:cubicBezTo>
                  <a:cubicBezTo>
                    <a:pt x="6145" y="13059"/>
                    <a:pt x="6137" y="13036"/>
                    <a:pt x="6134" y="13011"/>
                  </a:cubicBezTo>
                  <a:cubicBezTo>
                    <a:pt x="6132" y="12999"/>
                    <a:pt x="6135" y="12985"/>
                    <a:pt x="6138" y="12974"/>
                  </a:cubicBezTo>
                  <a:cubicBezTo>
                    <a:pt x="6154" y="12922"/>
                    <a:pt x="6145" y="12882"/>
                    <a:pt x="6093" y="12853"/>
                  </a:cubicBezTo>
                  <a:cubicBezTo>
                    <a:pt x="6062" y="12836"/>
                    <a:pt x="6042" y="12803"/>
                    <a:pt x="6035" y="12767"/>
                  </a:cubicBezTo>
                  <a:cubicBezTo>
                    <a:pt x="6014" y="12665"/>
                    <a:pt x="5983" y="12566"/>
                    <a:pt x="5951" y="12468"/>
                  </a:cubicBezTo>
                  <a:cubicBezTo>
                    <a:pt x="5949" y="12462"/>
                    <a:pt x="5945" y="12455"/>
                    <a:pt x="5946" y="12450"/>
                  </a:cubicBezTo>
                  <a:cubicBezTo>
                    <a:pt x="5957" y="12384"/>
                    <a:pt x="5943" y="12312"/>
                    <a:pt x="5988" y="12253"/>
                  </a:cubicBezTo>
                  <a:cubicBezTo>
                    <a:pt x="6035" y="12190"/>
                    <a:pt x="6039" y="12130"/>
                    <a:pt x="5999" y="12057"/>
                  </a:cubicBezTo>
                  <a:cubicBezTo>
                    <a:pt x="5969" y="12002"/>
                    <a:pt x="5941" y="11942"/>
                    <a:pt x="5925" y="11882"/>
                  </a:cubicBezTo>
                  <a:cubicBezTo>
                    <a:pt x="5898" y="11777"/>
                    <a:pt x="5868" y="11668"/>
                    <a:pt x="5903" y="11557"/>
                  </a:cubicBezTo>
                  <a:cubicBezTo>
                    <a:pt x="5910" y="11536"/>
                    <a:pt x="5902" y="11516"/>
                    <a:pt x="5896" y="11496"/>
                  </a:cubicBezTo>
                  <a:cubicBezTo>
                    <a:pt x="5886" y="11462"/>
                    <a:pt x="5881" y="11428"/>
                    <a:pt x="5901" y="11394"/>
                  </a:cubicBezTo>
                  <a:cubicBezTo>
                    <a:pt x="5928" y="11347"/>
                    <a:pt x="5893" y="11311"/>
                    <a:pt x="5875" y="11273"/>
                  </a:cubicBezTo>
                  <a:cubicBezTo>
                    <a:pt x="5868" y="11258"/>
                    <a:pt x="5854" y="11262"/>
                    <a:pt x="5809" y="11287"/>
                  </a:cubicBezTo>
                  <a:cubicBezTo>
                    <a:pt x="5820" y="11241"/>
                    <a:pt x="5817" y="11199"/>
                    <a:pt x="5816" y="11157"/>
                  </a:cubicBezTo>
                  <a:cubicBezTo>
                    <a:pt x="5816" y="11144"/>
                    <a:pt x="5815" y="11132"/>
                    <a:pt x="5814" y="11120"/>
                  </a:cubicBezTo>
                  <a:cubicBezTo>
                    <a:pt x="5813" y="11111"/>
                    <a:pt x="5807" y="11104"/>
                    <a:pt x="5799" y="11101"/>
                  </a:cubicBezTo>
                  <a:cubicBezTo>
                    <a:pt x="5787" y="11097"/>
                    <a:pt x="5779" y="11104"/>
                    <a:pt x="5774" y="11114"/>
                  </a:cubicBezTo>
                  <a:cubicBezTo>
                    <a:pt x="5752" y="11157"/>
                    <a:pt x="5728" y="11198"/>
                    <a:pt x="5716" y="11245"/>
                  </a:cubicBezTo>
                  <a:cubicBezTo>
                    <a:pt x="5713" y="11257"/>
                    <a:pt x="5712" y="11270"/>
                    <a:pt x="5698" y="11280"/>
                  </a:cubicBezTo>
                  <a:cubicBezTo>
                    <a:pt x="5670" y="11253"/>
                    <a:pt x="5698" y="11211"/>
                    <a:pt x="5670" y="11181"/>
                  </a:cubicBezTo>
                  <a:cubicBezTo>
                    <a:pt x="5655" y="11220"/>
                    <a:pt x="5640" y="11255"/>
                    <a:pt x="5627" y="11291"/>
                  </a:cubicBezTo>
                  <a:cubicBezTo>
                    <a:pt x="5614" y="11329"/>
                    <a:pt x="5588" y="11353"/>
                    <a:pt x="5552" y="11369"/>
                  </a:cubicBezTo>
                  <a:cubicBezTo>
                    <a:pt x="5479" y="11401"/>
                    <a:pt x="5473" y="11412"/>
                    <a:pt x="5485" y="11487"/>
                  </a:cubicBezTo>
                  <a:cubicBezTo>
                    <a:pt x="5486" y="11493"/>
                    <a:pt x="5488" y="11499"/>
                    <a:pt x="5490" y="11505"/>
                  </a:cubicBezTo>
                  <a:cubicBezTo>
                    <a:pt x="5492" y="11514"/>
                    <a:pt x="5489" y="11522"/>
                    <a:pt x="5480" y="11526"/>
                  </a:cubicBezTo>
                  <a:cubicBezTo>
                    <a:pt x="5471" y="11529"/>
                    <a:pt x="5465" y="11523"/>
                    <a:pt x="5459" y="11517"/>
                  </a:cubicBezTo>
                  <a:cubicBezTo>
                    <a:pt x="5444" y="11500"/>
                    <a:pt x="5431" y="11480"/>
                    <a:pt x="5426" y="11457"/>
                  </a:cubicBezTo>
                  <a:cubicBezTo>
                    <a:pt x="5423" y="11448"/>
                    <a:pt x="5422" y="11437"/>
                    <a:pt x="5410" y="11429"/>
                  </a:cubicBezTo>
                  <a:cubicBezTo>
                    <a:pt x="5388" y="11452"/>
                    <a:pt x="5394" y="11478"/>
                    <a:pt x="5399" y="11505"/>
                  </a:cubicBezTo>
                  <a:cubicBezTo>
                    <a:pt x="5401" y="11517"/>
                    <a:pt x="5406" y="11529"/>
                    <a:pt x="5407" y="11541"/>
                  </a:cubicBezTo>
                  <a:cubicBezTo>
                    <a:pt x="5408" y="11549"/>
                    <a:pt x="5403" y="11558"/>
                    <a:pt x="5393" y="11558"/>
                  </a:cubicBezTo>
                  <a:cubicBezTo>
                    <a:pt x="5388" y="11558"/>
                    <a:pt x="5380" y="11553"/>
                    <a:pt x="5378" y="11549"/>
                  </a:cubicBezTo>
                  <a:cubicBezTo>
                    <a:pt x="5356" y="11502"/>
                    <a:pt x="5333" y="11455"/>
                    <a:pt x="5315" y="11407"/>
                  </a:cubicBezTo>
                  <a:cubicBezTo>
                    <a:pt x="5298" y="11364"/>
                    <a:pt x="5321" y="11327"/>
                    <a:pt x="5343" y="11291"/>
                  </a:cubicBezTo>
                  <a:cubicBezTo>
                    <a:pt x="5352" y="11276"/>
                    <a:pt x="5380" y="11263"/>
                    <a:pt x="5364" y="11244"/>
                  </a:cubicBezTo>
                  <a:cubicBezTo>
                    <a:pt x="5346" y="11221"/>
                    <a:pt x="5328" y="11246"/>
                    <a:pt x="5311" y="11256"/>
                  </a:cubicBezTo>
                  <a:cubicBezTo>
                    <a:pt x="5290" y="11269"/>
                    <a:pt x="5267" y="11265"/>
                    <a:pt x="5244" y="11265"/>
                  </a:cubicBezTo>
                  <a:cubicBezTo>
                    <a:pt x="5209" y="11264"/>
                    <a:pt x="5177" y="11266"/>
                    <a:pt x="5164" y="11307"/>
                  </a:cubicBezTo>
                  <a:cubicBezTo>
                    <a:pt x="5160" y="11319"/>
                    <a:pt x="5149" y="11331"/>
                    <a:pt x="5136" y="11328"/>
                  </a:cubicBezTo>
                  <a:cubicBezTo>
                    <a:pt x="5118" y="11324"/>
                    <a:pt x="5120" y="11306"/>
                    <a:pt x="5119" y="11292"/>
                  </a:cubicBezTo>
                  <a:cubicBezTo>
                    <a:pt x="5118" y="11238"/>
                    <a:pt x="5147" y="11202"/>
                    <a:pt x="5208" y="11188"/>
                  </a:cubicBezTo>
                  <a:cubicBezTo>
                    <a:pt x="5242" y="11181"/>
                    <a:pt x="5265" y="11164"/>
                    <a:pt x="5282" y="11137"/>
                  </a:cubicBezTo>
                  <a:cubicBezTo>
                    <a:pt x="5295" y="11116"/>
                    <a:pt x="5285" y="11099"/>
                    <a:pt x="5262" y="11098"/>
                  </a:cubicBezTo>
                  <a:cubicBezTo>
                    <a:pt x="5220" y="11098"/>
                    <a:pt x="5179" y="11105"/>
                    <a:pt x="5138" y="11114"/>
                  </a:cubicBezTo>
                  <a:cubicBezTo>
                    <a:pt x="5123" y="11118"/>
                    <a:pt x="5116" y="11131"/>
                    <a:pt x="5107" y="11143"/>
                  </a:cubicBezTo>
                  <a:cubicBezTo>
                    <a:pt x="5095" y="11160"/>
                    <a:pt x="5081" y="11175"/>
                    <a:pt x="5067" y="11190"/>
                  </a:cubicBezTo>
                  <a:cubicBezTo>
                    <a:pt x="5059" y="11198"/>
                    <a:pt x="5050" y="11213"/>
                    <a:pt x="5036" y="11200"/>
                  </a:cubicBezTo>
                  <a:cubicBezTo>
                    <a:pt x="5026" y="11191"/>
                    <a:pt x="5028" y="11176"/>
                    <a:pt x="5035" y="11166"/>
                  </a:cubicBezTo>
                  <a:cubicBezTo>
                    <a:pt x="5065" y="11113"/>
                    <a:pt x="5100" y="11064"/>
                    <a:pt x="5141" y="11020"/>
                  </a:cubicBezTo>
                  <a:cubicBezTo>
                    <a:pt x="5146" y="11014"/>
                    <a:pt x="5154" y="11007"/>
                    <a:pt x="5161" y="11006"/>
                  </a:cubicBezTo>
                  <a:cubicBezTo>
                    <a:pt x="5205" y="10995"/>
                    <a:pt x="5234" y="10969"/>
                    <a:pt x="5251" y="10928"/>
                  </a:cubicBezTo>
                  <a:cubicBezTo>
                    <a:pt x="5259" y="10910"/>
                    <a:pt x="5274" y="10899"/>
                    <a:pt x="5294" y="10895"/>
                  </a:cubicBezTo>
                  <a:cubicBezTo>
                    <a:pt x="5310" y="10891"/>
                    <a:pt x="5330" y="10882"/>
                    <a:pt x="5328" y="10864"/>
                  </a:cubicBezTo>
                  <a:cubicBezTo>
                    <a:pt x="5326" y="10838"/>
                    <a:pt x="5300" y="10845"/>
                    <a:pt x="5283" y="10841"/>
                  </a:cubicBezTo>
                  <a:cubicBezTo>
                    <a:pt x="5265" y="10836"/>
                    <a:pt x="5246" y="10841"/>
                    <a:pt x="5228" y="10832"/>
                  </a:cubicBezTo>
                  <a:cubicBezTo>
                    <a:pt x="5215" y="10824"/>
                    <a:pt x="5203" y="10814"/>
                    <a:pt x="5208" y="10797"/>
                  </a:cubicBezTo>
                  <a:cubicBezTo>
                    <a:pt x="5212" y="10781"/>
                    <a:pt x="5227" y="10785"/>
                    <a:pt x="5239" y="10786"/>
                  </a:cubicBezTo>
                  <a:cubicBezTo>
                    <a:pt x="5282" y="10789"/>
                    <a:pt x="5321" y="10771"/>
                    <a:pt x="5360" y="10759"/>
                  </a:cubicBezTo>
                  <a:cubicBezTo>
                    <a:pt x="5390" y="10750"/>
                    <a:pt x="5415" y="10728"/>
                    <a:pt x="5423" y="10695"/>
                  </a:cubicBezTo>
                  <a:cubicBezTo>
                    <a:pt x="5434" y="10651"/>
                    <a:pt x="5459" y="10622"/>
                    <a:pt x="5505" y="10612"/>
                  </a:cubicBezTo>
                  <a:cubicBezTo>
                    <a:pt x="5549" y="10602"/>
                    <a:pt x="5559" y="10562"/>
                    <a:pt x="5553" y="10528"/>
                  </a:cubicBezTo>
                  <a:cubicBezTo>
                    <a:pt x="5540" y="10450"/>
                    <a:pt x="5577" y="10395"/>
                    <a:pt x="5626" y="10345"/>
                  </a:cubicBezTo>
                  <a:cubicBezTo>
                    <a:pt x="5665" y="10306"/>
                    <a:pt x="5690" y="10265"/>
                    <a:pt x="5690" y="10208"/>
                  </a:cubicBezTo>
                  <a:cubicBezTo>
                    <a:pt x="5689" y="10164"/>
                    <a:pt x="5711" y="10129"/>
                    <a:pt x="5747" y="10102"/>
                  </a:cubicBezTo>
                  <a:cubicBezTo>
                    <a:pt x="5786" y="10073"/>
                    <a:pt x="5814" y="10038"/>
                    <a:pt x="5833" y="9991"/>
                  </a:cubicBezTo>
                  <a:cubicBezTo>
                    <a:pt x="5857" y="9930"/>
                    <a:pt x="5905" y="9883"/>
                    <a:pt x="5963" y="9853"/>
                  </a:cubicBezTo>
                  <a:cubicBezTo>
                    <a:pt x="6066" y="9798"/>
                    <a:pt x="6180" y="9769"/>
                    <a:pt x="6294" y="9753"/>
                  </a:cubicBezTo>
                  <a:cubicBezTo>
                    <a:pt x="6361" y="9743"/>
                    <a:pt x="6435" y="9739"/>
                    <a:pt x="6498" y="9787"/>
                  </a:cubicBezTo>
                  <a:cubicBezTo>
                    <a:pt x="6522" y="9805"/>
                    <a:pt x="6546" y="9792"/>
                    <a:pt x="6554" y="9762"/>
                  </a:cubicBezTo>
                  <a:cubicBezTo>
                    <a:pt x="6556" y="9752"/>
                    <a:pt x="6555" y="9741"/>
                    <a:pt x="6554" y="9731"/>
                  </a:cubicBezTo>
                  <a:cubicBezTo>
                    <a:pt x="6551" y="9719"/>
                    <a:pt x="6543" y="9704"/>
                    <a:pt x="6556" y="9697"/>
                  </a:cubicBezTo>
                  <a:cubicBezTo>
                    <a:pt x="6574" y="9687"/>
                    <a:pt x="6588" y="9701"/>
                    <a:pt x="6599" y="9714"/>
                  </a:cubicBezTo>
                  <a:cubicBezTo>
                    <a:pt x="6624" y="9745"/>
                    <a:pt x="6626" y="9782"/>
                    <a:pt x="6630" y="9820"/>
                  </a:cubicBezTo>
                  <a:cubicBezTo>
                    <a:pt x="6631" y="9839"/>
                    <a:pt x="6622" y="9869"/>
                    <a:pt x="6648" y="9873"/>
                  </a:cubicBezTo>
                  <a:cubicBezTo>
                    <a:pt x="6678" y="9878"/>
                    <a:pt x="6681" y="9848"/>
                    <a:pt x="6688" y="9827"/>
                  </a:cubicBezTo>
                  <a:cubicBezTo>
                    <a:pt x="6690" y="9821"/>
                    <a:pt x="6695" y="9817"/>
                    <a:pt x="6699" y="9811"/>
                  </a:cubicBezTo>
                  <a:cubicBezTo>
                    <a:pt x="6746" y="9871"/>
                    <a:pt x="6746" y="9935"/>
                    <a:pt x="6699" y="9985"/>
                  </a:cubicBezTo>
                  <a:cubicBezTo>
                    <a:pt x="6678" y="10007"/>
                    <a:pt x="6668" y="10028"/>
                    <a:pt x="6677" y="10058"/>
                  </a:cubicBezTo>
                  <a:cubicBezTo>
                    <a:pt x="6682" y="10074"/>
                    <a:pt x="6683" y="10091"/>
                    <a:pt x="6686" y="10107"/>
                  </a:cubicBezTo>
                  <a:cubicBezTo>
                    <a:pt x="6697" y="10171"/>
                    <a:pt x="6731" y="10219"/>
                    <a:pt x="6788" y="10248"/>
                  </a:cubicBezTo>
                  <a:cubicBezTo>
                    <a:pt x="6824" y="10266"/>
                    <a:pt x="6834" y="10293"/>
                    <a:pt x="6825" y="10330"/>
                  </a:cubicBezTo>
                  <a:cubicBezTo>
                    <a:pt x="6821" y="10348"/>
                    <a:pt x="6821" y="10367"/>
                    <a:pt x="6831" y="10384"/>
                  </a:cubicBezTo>
                  <a:cubicBezTo>
                    <a:pt x="6855" y="10430"/>
                    <a:pt x="6848" y="10477"/>
                    <a:pt x="6825" y="10520"/>
                  </a:cubicBezTo>
                  <a:cubicBezTo>
                    <a:pt x="6812" y="10547"/>
                    <a:pt x="6809" y="10569"/>
                    <a:pt x="6820" y="10597"/>
                  </a:cubicBezTo>
                  <a:cubicBezTo>
                    <a:pt x="6846" y="10664"/>
                    <a:pt x="6829" y="10707"/>
                    <a:pt x="6766" y="10741"/>
                  </a:cubicBezTo>
                  <a:cubicBezTo>
                    <a:pt x="6742" y="10754"/>
                    <a:pt x="6718" y="10766"/>
                    <a:pt x="6694" y="10777"/>
                  </a:cubicBezTo>
                  <a:cubicBezTo>
                    <a:pt x="6682" y="10783"/>
                    <a:pt x="6671" y="10789"/>
                    <a:pt x="6665" y="10801"/>
                  </a:cubicBezTo>
                  <a:cubicBezTo>
                    <a:pt x="6662" y="10808"/>
                    <a:pt x="6654" y="10815"/>
                    <a:pt x="6659" y="10824"/>
                  </a:cubicBezTo>
                  <a:cubicBezTo>
                    <a:pt x="6663" y="10832"/>
                    <a:pt x="6672" y="10834"/>
                    <a:pt x="6680" y="10830"/>
                  </a:cubicBezTo>
                  <a:cubicBezTo>
                    <a:pt x="6704" y="10818"/>
                    <a:pt x="6725" y="10833"/>
                    <a:pt x="6746" y="10839"/>
                  </a:cubicBezTo>
                  <a:cubicBezTo>
                    <a:pt x="6784" y="10851"/>
                    <a:pt x="6788" y="10868"/>
                    <a:pt x="6763" y="10897"/>
                  </a:cubicBezTo>
                  <a:cubicBezTo>
                    <a:pt x="6750" y="10913"/>
                    <a:pt x="6735" y="10928"/>
                    <a:pt x="6721" y="10944"/>
                  </a:cubicBezTo>
                  <a:cubicBezTo>
                    <a:pt x="6714" y="10952"/>
                    <a:pt x="6713" y="10963"/>
                    <a:pt x="6719" y="10973"/>
                  </a:cubicBezTo>
                  <a:cubicBezTo>
                    <a:pt x="6726" y="10983"/>
                    <a:pt x="6738" y="10982"/>
                    <a:pt x="6747" y="10975"/>
                  </a:cubicBezTo>
                  <a:cubicBezTo>
                    <a:pt x="6787" y="10940"/>
                    <a:pt x="6831" y="10950"/>
                    <a:pt x="6876" y="10963"/>
                  </a:cubicBezTo>
                  <a:cubicBezTo>
                    <a:pt x="6915" y="10973"/>
                    <a:pt x="6949" y="10964"/>
                    <a:pt x="6982" y="10940"/>
                  </a:cubicBezTo>
                  <a:cubicBezTo>
                    <a:pt x="7053" y="10887"/>
                    <a:pt x="7122" y="10830"/>
                    <a:pt x="7210" y="10803"/>
                  </a:cubicBezTo>
                  <a:cubicBezTo>
                    <a:pt x="7229" y="10797"/>
                    <a:pt x="7247" y="10783"/>
                    <a:pt x="7261" y="10769"/>
                  </a:cubicBezTo>
                  <a:cubicBezTo>
                    <a:pt x="7350" y="10675"/>
                    <a:pt x="7453" y="10596"/>
                    <a:pt x="7552" y="10514"/>
                  </a:cubicBezTo>
                  <a:cubicBezTo>
                    <a:pt x="7638" y="10443"/>
                    <a:pt x="7725" y="10372"/>
                    <a:pt x="7780" y="10270"/>
                  </a:cubicBezTo>
                  <a:cubicBezTo>
                    <a:pt x="7797" y="10240"/>
                    <a:pt x="7826" y="10218"/>
                    <a:pt x="7836" y="10182"/>
                  </a:cubicBezTo>
                  <a:cubicBezTo>
                    <a:pt x="7840" y="10166"/>
                    <a:pt x="7854" y="10160"/>
                    <a:pt x="7870" y="10159"/>
                  </a:cubicBezTo>
                  <a:cubicBezTo>
                    <a:pt x="7876" y="10159"/>
                    <a:pt x="7882" y="10158"/>
                    <a:pt x="7888" y="10158"/>
                  </a:cubicBezTo>
                  <a:cubicBezTo>
                    <a:pt x="7970" y="10164"/>
                    <a:pt x="8022" y="10126"/>
                    <a:pt x="8062" y="10055"/>
                  </a:cubicBezTo>
                  <a:cubicBezTo>
                    <a:pt x="8147" y="9907"/>
                    <a:pt x="8237" y="9763"/>
                    <a:pt x="8326" y="9618"/>
                  </a:cubicBezTo>
                  <a:cubicBezTo>
                    <a:pt x="8365" y="9557"/>
                    <a:pt x="8398" y="9492"/>
                    <a:pt x="8439" y="9433"/>
                  </a:cubicBezTo>
                  <a:cubicBezTo>
                    <a:pt x="8489" y="9361"/>
                    <a:pt x="8527" y="9283"/>
                    <a:pt x="8576" y="9211"/>
                  </a:cubicBezTo>
                  <a:cubicBezTo>
                    <a:pt x="8649" y="9105"/>
                    <a:pt x="8710" y="8991"/>
                    <a:pt x="8774" y="8880"/>
                  </a:cubicBezTo>
                  <a:cubicBezTo>
                    <a:pt x="8824" y="8794"/>
                    <a:pt x="8880" y="8712"/>
                    <a:pt x="8927" y="8624"/>
                  </a:cubicBezTo>
                  <a:cubicBezTo>
                    <a:pt x="9002" y="8483"/>
                    <a:pt x="9087" y="8348"/>
                    <a:pt x="9165" y="8208"/>
                  </a:cubicBezTo>
                  <a:cubicBezTo>
                    <a:pt x="9227" y="8098"/>
                    <a:pt x="9283" y="7985"/>
                    <a:pt x="9344" y="7874"/>
                  </a:cubicBezTo>
                  <a:cubicBezTo>
                    <a:pt x="9376" y="7816"/>
                    <a:pt x="9413" y="7761"/>
                    <a:pt x="9442" y="7701"/>
                  </a:cubicBezTo>
                  <a:cubicBezTo>
                    <a:pt x="9461" y="7660"/>
                    <a:pt x="9488" y="7622"/>
                    <a:pt x="9505" y="7580"/>
                  </a:cubicBezTo>
                  <a:cubicBezTo>
                    <a:pt x="9539" y="7497"/>
                    <a:pt x="9586" y="7420"/>
                    <a:pt x="9623" y="7339"/>
                  </a:cubicBezTo>
                  <a:cubicBezTo>
                    <a:pt x="9657" y="7266"/>
                    <a:pt x="9642" y="7245"/>
                    <a:pt x="9561" y="7254"/>
                  </a:cubicBezTo>
                  <a:cubicBezTo>
                    <a:pt x="9498" y="7262"/>
                    <a:pt x="9441" y="7288"/>
                    <a:pt x="9394" y="7331"/>
                  </a:cubicBezTo>
                  <a:cubicBezTo>
                    <a:pt x="9346" y="7375"/>
                    <a:pt x="9333" y="7434"/>
                    <a:pt x="9353" y="7492"/>
                  </a:cubicBezTo>
                  <a:cubicBezTo>
                    <a:pt x="9392" y="7608"/>
                    <a:pt x="9343" y="7698"/>
                    <a:pt x="9281" y="7787"/>
                  </a:cubicBezTo>
                  <a:cubicBezTo>
                    <a:pt x="9267" y="7807"/>
                    <a:pt x="9244" y="7804"/>
                    <a:pt x="9239" y="7781"/>
                  </a:cubicBezTo>
                  <a:cubicBezTo>
                    <a:pt x="9216" y="7682"/>
                    <a:pt x="9180" y="7584"/>
                    <a:pt x="9230" y="7483"/>
                  </a:cubicBezTo>
                  <a:cubicBezTo>
                    <a:pt x="9240" y="7463"/>
                    <a:pt x="9254" y="7444"/>
                    <a:pt x="9250" y="7419"/>
                  </a:cubicBezTo>
                  <a:cubicBezTo>
                    <a:pt x="9153" y="7444"/>
                    <a:pt x="9118" y="7488"/>
                    <a:pt x="9136" y="7578"/>
                  </a:cubicBezTo>
                  <a:cubicBezTo>
                    <a:pt x="9152" y="7655"/>
                    <a:pt x="9149" y="7726"/>
                    <a:pt x="9116" y="7797"/>
                  </a:cubicBezTo>
                  <a:cubicBezTo>
                    <a:pt x="9100" y="7832"/>
                    <a:pt x="9070" y="7855"/>
                    <a:pt x="9052" y="7888"/>
                  </a:cubicBezTo>
                  <a:cubicBezTo>
                    <a:pt x="9042" y="7905"/>
                    <a:pt x="9021" y="7897"/>
                    <a:pt x="9012" y="7871"/>
                  </a:cubicBezTo>
                  <a:cubicBezTo>
                    <a:pt x="8982" y="7791"/>
                    <a:pt x="8948" y="7711"/>
                    <a:pt x="8994" y="7621"/>
                  </a:cubicBezTo>
                  <a:cubicBezTo>
                    <a:pt x="8951" y="7625"/>
                    <a:pt x="8935" y="7648"/>
                    <a:pt x="8926" y="7680"/>
                  </a:cubicBezTo>
                  <a:cubicBezTo>
                    <a:pt x="8918" y="7711"/>
                    <a:pt x="8919" y="7741"/>
                    <a:pt x="8922" y="7773"/>
                  </a:cubicBezTo>
                  <a:cubicBezTo>
                    <a:pt x="8924" y="7789"/>
                    <a:pt x="8928" y="7806"/>
                    <a:pt x="8929" y="7822"/>
                  </a:cubicBezTo>
                  <a:cubicBezTo>
                    <a:pt x="8937" y="7910"/>
                    <a:pt x="8894" y="7992"/>
                    <a:pt x="8820" y="8030"/>
                  </a:cubicBezTo>
                  <a:cubicBezTo>
                    <a:pt x="8801" y="8040"/>
                    <a:pt x="8785" y="8034"/>
                    <a:pt x="8779" y="8016"/>
                  </a:cubicBezTo>
                  <a:cubicBezTo>
                    <a:pt x="8770" y="7986"/>
                    <a:pt x="8750" y="7961"/>
                    <a:pt x="8737" y="7933"/>
                  </a:cubicBezTo>
                  <a:cubicBezTo>
                    <a:pt x="8702" y="7859"/>
                    <a:pt x="8712" y="7791"/>
                    <a:pt x="8772" y="7735"/>
                  </a:cubicBezTo>
                  <a:cubicBezTo>
                    <a:pt x="8808" y="7701"/>
                    <a:pt x="8838" y="7661"/>
                    <a:pt x="8879" y="7632"/>
                  </a:cubicBezTo>
                  <a:cubicBezTo>
                    <a:pt x="8891" y="7624"/>
                    <a:pt x="8901" y="7612"/>
                    <a:pt x="8909" y="7600"/>
                  </a:cubicBezTo>
                  <a:cubicBezTo>
                    <a:pt x="8919" y="7589"/>
                    <a:pt x="8926" y="7574"/>
                    <a:pt x="8915" y="7561"/>
                  </a:cubicBezTo>
                  <a:cubicBezTo>
                    <a:pt x="8902" y="7546"/>
                    <a:pt x="8887" y="7557"/>
                    <a:pt x="8876" y="7566"/>
                  </a:cubicBezTo>
                  <a:cubicBezTo>
                    <a:pt x="8807" y="7625"/>
                    <a:pt x="8724" y="7607"/>
                    <a:pt x="8644" y="7604"/>
                  </a:cubicBezTo>
                  <a:cubicBezTo>
                    <a:pt x="8622" y="7603"/>
                    <a:pt x="8608" y="7583"/>
                    <a:pt x="8619" y="7563"/>
                  </a:cubicBezTo>
                  <a:cubicBezTo>
                    <a:pt x="8659" y="7493"/>
                    <a:pt x="8693" y="7419"/>
                    <a:pt x="8783" y="7395"/>
                  </a:cubicBezTo>
                  <a:cubicBezTo>
                    <a:pt x="8837" y="7381"/>
                    <a:pt x="8882" y="7395"/>
                    <a:pt x="8927" y="7418"/>
                  </a:cubicBezTo>
                  <a:cubicBezTo>
                    <a:pt x="9030" y="7472"/>
                    <a:pt x="9030" y="7473"/>
                    <a:pt x="9117" y="7401"/>
                  </a:cubicBezTo>
                  <a:cubicBezTo>
                    <a:pt x="9143" y="7379"/>
                    <a:pt x="9168" y="7358"/>
                    <a:pt x="9199" y="7344"/>
                  </a:cubicBezTo>
                  <a:cubicBezTo>
                    <a:pt x="9210" y="7338"/>
                    <a:pt x="9218" y="7328"/>
                    <a:pt x="9217" y="7313"/>
                  </a:cubicBezTo>
                  <a:cubicBezTo>
                    <a:pt x="9216" y="7298"/>
                    <a:pt x="9203" y="7293"/>
                    <a:pt x="9191" y="7290"/>
                  </a:cubicBezTo>
                  <a:cubicBezTo>
                    <a:pt x="9142" y="7278"/>
                    <a:pt x="9093" y="7275"/>
                    <a:pt x="9047" y="7305"/>
                  </a:cubicBezTo>
                  <a:cubicBezTo>
                    <a:pt x="9037" y="7312"/>
                    <a:pt x="9026" y="7322"/>
                    <a:pt x="9014" y="7310"/>
                  </a:cubicBezTo>
                  <a:cubicBezTo>
                    <a:pt x="9005" y="7301"/>
                    <a:pt x="9013" y="7291"/>
                    <a:pt x="9014" y="7281"/>
                  </a:cubicBezTo>
                  <a:cubicBezTo>
                    <a:pt x="9026" y="7204"/>
                    <a:pt x="9083" y="7162"/>
                    <a:pt x="9144" y="7131"/>
                  </a:cubicBezTo>
                  <a:cubicBezTo>
                    <a:pt x="9204" y="7100"/>
                    <a:pt x="9290" y="7135"/>
                    <a:pt x="9305" y="7201"/>
                  </a:cubicBezTo>
                  <a:cubicBezTo>
                    <a:pt x="9309" y="7215"/>
                    <a:pt x="9309" y="7231"/>
                    <a:pt x="9322" y="7241"/>
                  </a:cubicBezTo>
                  <a:cubicBezTo>
                    <a:pt x="9339" y="7254"/>
                    <a:pt x="9361" y="7252"/>
                    <a:pt x="9372" y="7235"/>
                  </a:cubicBezTo>
                  <a:cubicBezTo>
                    <a:pt x="9416" y="7166"/>
                    <a:pt x="9489" y="7154"/>
                    <a:pt x="9559" y="7134"/>
                  </a:cubicBezTo>
                  <a:cubicBezTo>
                    <a:pt x="9576" y="7129"/>
                    <a:pt x="9602" y="7134"/>
                    <a:pt x="9602" y="7109"/>
                  </a:cubicBezTo>
                  <a:cubicBezTo>
                    <a:pt x="9602" y="7083"/>
                    <a:pt x="9575" y="7089"/>
                    <a:pt x="9558" y="7084"/>
                  </a:cubicBezTo>
                  <a:cubicBezTo>
                    <a:pt x="9502" y="7068"/>
                    <a:pt x="9447" y="7053"/>
                    <a:pt x="9389" y="7083"/>
                  </a:cubicBezTo>
                  <a:cubicBezTo>
                    <a:pt x="9372" y="7091"/>
                    <a:pt x="9348" y="7087"/>
                    <a:pt x="9327" y="7088"/>
                  </a:cubicBezTo>
                  <a:cubicBezTo>
                    <a:pt x="9309" y="7089"/>
                    <a:pt x="9295" y="7083"/>
                    <a:pt x="9287" y="7064"/>
                  </a:cubicBezTo>
                  <a:cubicBezTo>
                    <a:pt x="9272" y="7027"/>
                    <a:pt x="9242" y="7021"/>
                    <a:pt x="9205" y="7024"/>
                  </a:cubicBezTo>
                  <a:cubicBezTo>
                    <a:pt x="9140" y="7029"/>
                    <a:pt x="9080" y="7043"/>
                    <a:pt x="9023" y="7080"/>
                  </a:cubicBezTo>
                  <a:cubicBezTo>
                    <a:pt x="8936" y="7138"/>
                    <a:pt x="8837" y="7127"/>
                    <a:pt x="8753" y="7060"/>
                  </a:cubicBezTo>
                  <a:cubicBezTo>
                    <a:pt x="8680" y="7002"/>
                    <a:pt x="8603" y="6947"/>
                    <a:pt x="8520" y="6907"/>
                  </a:cubicBezTo>
                  <a:cubicBezTo>
                    <a:pt x="8426" y="6860"/>
                    <a:pt x="8325" y="6828"/>
                    <a:pt x="8222" y="6802"/>
                  </a:cubicBezTo>
                  <a:cubicBezTo>
                    <a:pt x="8082" y="6768"/>
                    <a:pt x="7954" y="6910"/>
                    <a:pt x="7975" y="7018"/>
                  </a:cubicBezTo>
                  <a:cubicBezTo>
                    <a:pt x="7986" y="7072"/>
                    <a:pt x="8005" y="7116"/>
                    <a:pt x="8061" y="7137"/>
                  </a:cubicBezTo>
                  <a:cubicBezTo>
                    <a:pt x="8111" y="7156"/>
                    <a:pt x="8151" y="7187"/>
                    <a:pt x="8179" y="7235"/>
                  </a:cubicBezTo>
                  <a:cubicBezTo>
                    <a:pt x="8195" y="7263"/>
                    <a:pt x="8222" y="7285"/>
                    <a:pt x="8248" y="7305"/>
                  </a:cubicBezTo>
                  <a:cubicBezTo>
                    <a:pt x="8259" y="7313"/>
                    <a:pt x="8268" y="7323"/>
                    <a:pt x="8262" y="7337"/>
                  </a:cubicBezTo>
                  <a:cubicBezTo>
                    <a:pt x="8257" y="7351"/>
                    <a:pt x="8242" y="7349"/>
                    <a:pt x="8230" y="7350"/>
                  </a:cubicBezTo>
                  <a:cubicBezTo>
                    <a:pt x="8146" y="7351"/>
                    <a:pt x="8085" y="7308"/>
                    <a:pt x="8035" y="7246"/>
                  </a:cubicBezTo>
                  <a:cubicBezTo>
                    <a:pt x="8021" y="7228"/>
                    <a:pt x="8013" y="7196"/>
                    <a:pt x="7987" y="7205"/>
                  </a:cubicBezTo>
                  <a:cubicBezTo>
                    <a:pt x="7953" y="7218"/>
                    <a:pt x="7977" y="7249"/>
                    <a:pt x="7980" y="7271"/>
                  </a:cubicBezTo>
                  <a:cubicBezTo>
                    <a:pt x="7984" y="7295"/>
                    <a:pt x="7997" y="7318"/>
                    <a:pt x="8002" y="7342"/>
                  </a:cubicBezTo>
                  <a:cubicBezTo>
                    <a:pt x="8010" y="7378"/>
                    <a:pt x="8032" y="7398"/>
                    <a:pt x="8064" y="7415"/>
                  </a:cubicBezTo>
                  <a:cubicBezTo>
                    <a:pt x="8097" y="7433"/>
                    <a:pt x="8131" y="7448"/>
                    <a:pt x="8158" y="7476"/>
                  </a:cubicBezTo>
                  <a:cubicBezTo>
                    <a:pt x="8206" y="7528"/>
                    <a:pt x="8210" y="7597"/>
                    <a:pt x="8230" y="7660"/>
                  </a:cubicBezTo>
                  <a:cubicBezTo>
                    <a:pt x="8235" y="7679"/>
                    <a:pt x="8216" y="7689"/>
                    <a:pt x="8197" y="7677"/>
                  </a:cubicBezTo>
                  <a:cubicBezTo>
                    <a:pt x="8146" y="7643"/>
                    <a:pt x="8087" y="7617"/>
                    <a:pt x="8058" y="7556"/>
                  </a:cubicBezTo>
                  <a:cubicBezTo>
                    <a:pt x="8051" y="7540"/>
                    <a:pt x="8033" y="7529"/>
                    <a:pt x="8020" y="7515"/>
                  </a:cubicBezTo>
                  <a:cubicBezTo>
                    <a:pt x="8004" y="7567"/>
                    <a:pt x="8011" y="7601"/>
                    <a:pt x="8048" y="7637"/>
                  </a:cubicBezTo>
                  <a:cubicBezTo>
                    <a:pt x="8109" y="7699"/>
                    <a:pt x="8130" y="7779"/>
                    <a:pt x="8150" y="7860"/>
                  </a:cubicBezTo>
                  <a:cubicBezTo>
                    <a:pt x="8154" y="7878"/>
                    <a:pt x="8154" y="7899"/>
                    <a:pt x="8137" y="7911"/>
                  </a:cubicBezTo>
                  <a:cubicBezTo>
                    <a:pt x="8116" y="7927"/>
                    <a:pt x="8098" y="7912"/>
                    <a:pt x="8080" y="7900"/>
                  </a:cubicBezTo>
                  <a:cubicBezTo>
                    <a:pt x="8045" y="7875"/>
                    <a:pt x="8007" y="7852"/>
                    <a:pt x="7978" y="7819"/>
                  </a:cubicBezTo>
                  <a:cubicBezTo>
                    <a:pt x="7944" y="7782"/>
                    <a:pt x="7935" y="7735"/>
                    <a:pt x="7942" y="7685"/>
                  </a:cubicBezTo>
                  <a:cubicBezTo>
                    <a:pt x="7948" y="7646"/>
                    <a:pt x="7949" y="7607"/>
                    <a:pt x="7943" y="7567"/>
                  </a:cubicBezTo>
                  <a:cubicBezTo>
                    <a:pt x="7937" y="7533"/>
                    <a:pt x="7918" y="7527"/>
                    <a:pt x="7892" y="7549"/>
                  </a:cubicBezTo>
                  <a:cubicBezTo>
                    <a:pt x="7872" y="7566"/>
                    <a:pt x="7863" y="7589"/>
                    <a:pt x="7857" y="7614"/>
                  </a:cubicBezTo>
                  <a:cubicBezTo>
                    <a:pt x="7846" y="7665"/>
                    <a:pt x="7833" y="7715"/>
                    <a:pt x="7843" y="7766"/>
                  </a:cubicBezTo>
                  <a:cubicBezTo>
                    <a:pt x="7819" y="7774"/>
                    <a:pt x="7811" y="7761"/>
                    <a:pt x="7804" y="7748"/>
                  </a:cubicBezTo>
                  <a:cubicBezTo>
                    <a:pt x="7769" y="7688"/>
                    <a:pt x="7748" y="7623"/>
                    <a:pt x="7737" y="7555"/>
                  </a:cubicBezTo>
                  <a:cubicBezTo>
                    <a:pt x="7731" y="7516"/>
                    <a:pt x="7751" y="7484"/>
                    <a:pt x="7782" y="7465"/>
                  </a:cubicBezTo>
                  <a:cubicBezTo>
                    <a:pt x="7813" y="7446"/>
                    <a:pt x="7839" y="7417"/>
                    <a:pt x="7874" y="7403"/>
                  </a:cubicBezTo>
                  <a:cubicBezTo>
                    <a:pt x="7902" y="7392"/>
                    <a:pt x="7911" y="7370"/>
                    <a:pt x="7902" y="7342"/>
                  </a:cubicBezTo>
                  <a:cubicBezTo>
                    <a:pt x="7891" y="7308"/>
                    <a:pt x="7882" y="7274"/>
                    <a:pt x="7887" y="7238"/>
                  </a:cubicBezTo>
                  <a:cubicBezTo>
                    <a:pt x="7888" y="7228"/>
                    <a:pt x="7883" y="7217"/>
                    <a:pt x="7879" y="7208"/>
                  </a:cubicBezTo>
                  <a:cubicBezTo>
                    <a:pt x="7874" y="7195"/>
                    <a:pt x="7864" y="7188"/>
                    <a:pt x="7850" y="7189"/>
                  </a:cubicBezTo>
                  <a:cubicBezTo>
                    <a:pt x="7838" y="7190"/>
                    <a:pt x="7832" y="7199"/>
                    <a:pt x="7830" y="7210"/>
                  </a:cubicBezTo>
                  <a:cubicBezTo>
                    <a:pt x="7814" y="7287"/>
                    <a:pt x="7748" y="7322"/>
                    <a:pt x="7696" y="7369"/>
                  </a:cubicBezTo>
                  <a:cubicBezTo>
                    <a:pt x="7685" y="7379"/>
                    <a:pt x="7673" y="7388"/>
                    <a:pt x="7658" y="7377"/>
                  </a:cubicBezTo>
                  <a:cubicBezTo>
                    <a:pt x="7645" y="7368"/>
                    <a:pt x="7650" y="7355"/>
                    <a:pt x="7654" y="7343"/>
                  </a:cubicBezTo>
                  <a:cubicBezTo>
                    <a:pt x="7668" y="7306"/>
                    <a:pt x="7675" y="7268"/>
                    <a:pt x="7686" y="7230"/>
                  </a:cubicBezTo>
                  <a:cubicBezTo>
                    <a:pt x="7705" y="7167"/>
                    <a:pt x="7746" y="7127"/>
                    <a:pt x="7799" y="7096"/>
                  </a:cubicBezTo>
                  <a:cubicBezTo>
                    <a:pt x="7843" y="7070"/>
                    <a:pt x="7872" y="7039"/>
                    <a:pt x="7862" y="6981"/>
                  </a:cubicBezTo>
                  <a:cubicBezTo>
                    <a:pt x="7857" y="6951"/>
                    <a:pt x="7869" y="6919"/>
                    <a:pt x="7879" y="6889"/>
                  </a:cubicBezTo>
                  <a:cubicBezTo>
                    <a:pt x="7883" y="6877"/>
                    <a:pt x="7882" y="6864"/>
                    <a:pt x="7869" y="6856"/>
                  </a:cubicBezTo>
                  <a:cubicBezTo>
                    <a:pt x="7859" y="6850"/>
                    <a:pt x="7848" y="6854"/>
                    <a:pt x="7840" y="6860"/>
                  </a:cubicBezTo>
                  <a:cubicBezTo>
                    <a:pt x="7790" y="6896"/>
                    <a:pt x="7739" y="6930"/>
                    <a:pt x="7710" y="6990"/>
                  </a:cubicBezTo>
                  <a:cubicBezTo>
                    <a:pt x="7681" y="7050"/>
                    <a:pt x="7638" y="7099"/>
                    <a:pt x="7578" y="7135"/>
                  </a:cubicBezTo>
                  <a:cubicBezTo>
                    <a:pt x="7509" y="7177"/>
                    <a:pt x="7438" y="7217"/>
                    <a:pt x="7385" y="7281"/>
                  </a:cubicBezTo>
                  <a:cubicBezTo>
                    <a:pt x="7374" y="7293"/>
                    <a:pt x="7364" y="7307"/>
                    <a:pt x="7355" y="7320"/>
                  </a:cubicBezTo>
                  <a:cubicBezTo>
                    <a:pt x="7313" y="7382"/>
                    <a:pt x="7320" y="7442"/>
                    <a:pt x="7376" y="7492"/>
                  </a:cubicBezTo>
                  <a:cubicBezTo>
                    <a:pt x="7401" y="7514"/>
                    <a:pt x="7427" y="7534"/>
                    <a:pt x="7457" y="7550"/>
                  </a:cubicBezTo>
                  <a:cubicBezTo>
                    <a:pt x="7514" y="7579"/>
                    <a:pt x="7542" y="7633"/>
                    <a:pt x="7564" y="7690"/>
                  </a:cubicBezTo>
                  <a:cubicBezTo>
                    <a:pt x="7570" y="7705"/>
                    <a:pt x="7572" y="7724"/>
                    <a:pt x="7559" y="7737"/>
                  </a:cubicBezTo>
                  <a:cubicBezTo>
                    <a:pt x="7545" y="7752"/>
                    <a:pt x="7528" y="7742"/>
                    <a:pt x="7512" y="7737"/>
                  </a:cubicBezTo>
                  <a:cubicBezTo>
                    <a:pt x="7424" y="7712"/>
                    <a:pt x="7355" y="7664"/>
                    <a:pt x="7325" y="7572"/>
                  </a:cubicBezTo>
                  <a:cubicBezTo>
                    <a:pt x="7323" y="7566"/>
                    <a:pt x="7320" y="7560"/>
                    <a:pt x="7317" y="7555"/>
                  </a:cubicBezTo>
                  <a:cubicBezTo>
                    <a:pt x="7304" y="7536"/>
                    <a:pt x="7289" y="7537"/>
                    <a:pt x="7280" y="7558"/>
                  </a:cubicBezTo>
                  <a:cubicBezTo>
                    <a:pt x="7264" y="7596"/>
                    <a:pt x="7273" y="7632"/>
                    <a:pt x="7296" y="7664"/>
                  </a:cubicBezTo>
                  <a:cubicBezTo>
                    <a:pt x="7317" y="7692"/>
                    <a:pt x="7341" y="7718"/>
                    <a:pt x="7371" y="7738"/>
                  </a:cubicBezTo>
                  <a:cubicBezTo>
                    <a:pt x="7448" y="7786"/>
                    <a:pt x="7470" y="7862"/>
                    <a:pt x="7472" y="7947"/>
                  </a:cubicBezTo>
                  <a:cubicBezTo>
                    <a:pt x="7472" y="7975"/>
                    <a:pt x="7456" y="7982"/>
                    <a:pt x="7430" y="7970"/>
                  </a:cubicBezTo>
                  <a:cubicBezTo>
                    <a:pt x="7358" y="7939"/>
                    <a:pt x="7309" y="7887"/>
                    <a:pt x="7285" y="7812"/>
                  </a:cubicBezTo>
                  <a:cubicBezTo>
                    <a:pt x="7281" y="7800"/>
                    <a:pt x="7276" y="7787"/>
                    <a:pt x="7259" y="7792"/>
                  </a:cubicBezTo>
                  <a:cubicBezTo>
                    <a:pt x="7245" y="7796"/>
                    <a:pt x="7240" y="7808"/>
                    <a:pt x="7241" y="7821"/>
                  </a:cubicBezTo>
                  <a:cubicBezTo>
                    <a:pt x="7246" y="7869"/>
                    <a:pt x="7270" y="7907"/>
                    <a:pt x="7303" y="7941"/>
                  </a:cubicBezTo>
                  <a:cubicBezTo>
                    <a:pt x="7328" y="7968"/>
                    <a:pt x="7352" y="7997"/>
                    <a:pt x="7373" y="8028"/>
                  </a:cubicBezTo>
                  <a:cubicBezTo>
                    <a:pt x="7403" y="8071"/>
                    <a:pt x="7395" y="8115"/>
                    <a:pt x="7387" y="8160"/>
                  </a:cubicBezTo>
                  <a:cubicBezTo>
                    <a:pt x="7382" y="8188"/>
                    <a:pt x="7368" y="8215"/>
                    <a:pt x="7367" y="8244"/>
                  </a:cubicBezTo>
                  <a:cubicBezTo>
                    <a:pt x="7367" y="8258"/>
                    <a:pt x="7359" y="8268"/>
                    <a:pt x="7345" y="8270"/>
                  </a:cubicBezTo>
                  <a:cubicBezTo>
                    <a:pt x="7334" y="8272"/>
                    <a:pt x="7325" y="8266"/>
                    <a:pt x="7320" y="8255"/>
                  </a:cubicBezTo>
                  <a:cubicBezTo>
                    <a:pt x="7295" y="8197"/>
                    <a:pt x="7252" y="8152"/>
                    <a:pt x="7205" y="8111"/>
                  </a:cubicBezTo>
                  <a:cubicBezTo>
                    <a:pt x="7178" y="8086"/>
                    <a:pt x="7170" y="8057"/>
                    <a:pt x="7173" y="8021"/>
                  </a:cubicBezTo>
                  <a:cubicBezTo>
                    <a:pt x="7179" y="7961"/>
                    <a:pt x="7184" y="7901"/>
                    <a:pt x="7181" y="7841"/>
                  </a:cubicBezTo>
                  <a:cubicBezTo>
                    <a:pt x="7180" y="7832"/>
                    <a:pt x="7179" y="7824"/>
                    <a:pt x="7178" y="7816"/>
                  </a:cubicBezTo>
                  <a:cubicBezTo>
                    <a:pt x="7176" y="7798"/>
                    <a:pt x="7180" y="7774"/>
                    <a:pt x="7154" y="7772"/>
                  </a:cubicBezTo>
                  <a:cubicBezTo>
                    <a:pt x="7131" y="7771"/>
                    <a:pt x="7124" y="7792"/>
                    <a:pt x="7117" y="7809"/>
                  </a:cubicBezTo>
                  <a:cubicBezTo>
                    <a:pt x="7100" y="7854"/>
                    <a:pt x="7083" y="7899"/>
                    <a:pt x="7065" y="7943"/>
                  </a:cubicBezTo>
                  <a:cubicBezTo>
                    <a:pt x="7061" y="7954"/>
                    <a:pt x="7057" y="7969"/>
                    <a:pt x="7042" y="7968"/>
                  </a:cubicBezTo>
                  <a:cubicBezTo>
                    <a:pt x="7030" y="7968"/>
                    <a:pt x="7024" y="7957"/>
                    <a:pt x="7021" y="7948"/>
                  </a:cubicBezTo>
                  <a:cubicBezTo>
                    <a:pt x="7007" y="7915"/>
                    <a:pt x="6994" y="7882"/>
                    <a:pt x="6981" y="7849"/>
                  </a:cubicBezTo>
                  <a:cubicBezTo>
                    <a:pt x="6979" y="7844"/>
                    <a:pt x="6977" y="7837"/>
                    <a:pt x="6977" y="7831"/>
                  </a:cubicBezTo>
                  <a:cubicBezTo>
                    <a:pt x="6972" y="7772"/>
                    <a:pt x="7040" y="7662"/>
                    <a:pt x="7097" y="7639"/>
                  </a:cubicBezTo>
                  <a:cubicBezTo>
                    <a:pt x="7137" y="7623"/>
                    <a:pt x="7172" y="7606"/>
                    <a:pt x="7177" y="7556"/>
                  </a:cubicBezTo>
                  <a:cubicBezTo>
                    <a:pt x="7183" y="7505"/>
                    <a:pt x="7145" y="7472"/>
                    <a:pt x="7096" y="7487"/>
                  </a:cubicBezTo>
                  <a:cubicBezTo>
                    <a:pt x="7072" y="7495"/>
                    <a:pt x="7053" y="7513"/>
                    <a:pt x="7036" y="7531"/>
                  </a:cubicBezTo>
                  <a:cubicBezTo>
                    <a:pt x="7023" y="7544"/>
                    <a:pt x="7012" y="7560"/>
                    <a:pt x="6985" y="7554"/>
                  </a:cubicBezTo>
                  <a:cubicBezTo>
                    <a:pt x="6997" y="7506"/>
                    <a:pt x="7002" y="7457"/>
                    <a:pt x="7008" y="7408"/>
                  </a:cubicBezTo>
                  <a:cubicBezTo>
                    <a:pt x="7012" y="7378"/>
                    <a:pt x="7035" y="7358"/>
                    <a:pt x="7067" y="7351"/>
                  </a:cubicBezTo>
                  <a:cubicBezTo>
                    <a:pt x="7110" y="7342"/>
                    <a:pt x="7151" y="7328"/>
                    <a:pt x="7196" y="7328"/>
                  </a:cubicBezTo>
                  <a:cubicBezTo>
                    <a:pt x="7225" y="7328"/>
                    <a:pt x="7249" y="7319"/>
                    <a:pt x="7262" y="7290"/>
                  </a:cubicBezTo>
                  <a:cubicBezTo>
                    <a:pt x="7305" y="7198"/>
                    <a:pt x="7386" y="7148"/>
                    <a:pt x="7468" y="7097"/>
                  </a:cubicBezTo>
                  <a:cubicBezTo>
                    <a:pt x="7526" y="7061"/>
                    <a:pt x="7585" y="7026"/>
                    <a:pt x="7619" y="6963"/>
                  </a:cubicBezTo>
                  <a:cubicBezTo>
                    <a:pt x="7626" y="6949"/>
                    <a:pt x="7636" y="6937"/>
                    <a:pt x="7625" y="6923"/>
                  </a:cubicBezTo>
                  <a:cubicBezTo>
                    <a:pt x="7615" y="6911"/>
                    <a:pt x="7602" y="6917"/>
                    <a:pt x="7590" y="6920"/>
                  </a:cubicBezTo>
                  <a:cubicBezTo>
                    <a:pt x="7563" y="6927"/>
                    <a:pt x="7538" y="6938"/>
                    <a:pt x="7518" y="6956"/>
                  </a:cubicBezTo>
                  <a:cubicBezTo>
                    <a:pt x="7487" y="6983"/>
                    <a:pt x="7452" y="6998"/>
                    <a:pt x="7415" y="7013"/>
                  </a:cubicBezTo>
                  <a:cubicBezTo>
                    <a:pt x="7338" y="7044"/>
                    <a:pt x="7288" y="7036"/>
                    <a:pt x="7231" y="6973"/>
                  </a:cubicBezTo>
                  <a:cubicBezTo>
                    <a:pt x="7207" y="6945"/>
                    <a:pt x="7176" y="6935"/>
                    <a:pt x="7144" y="6931"/>
                  </a:cubicBezTo>
                  <a:cubicBezTo>
                    <a:pt x="7098" y="6925"/>
                    <a:pt x="7073" y="6954"/>
                    <a:pt x="7082" y="7000"/>
                  </a:cubicBezTo>
                  <a:cubicBezTo>
                    <a:pt x="7090" y="7037"/>
                    <a:pt x="7114" y="7067"/>
                    <a:pt x="7137" y="7096"/>
                  </a:cubicBezTo>
                  <a:cubicBezTo>
                    <a:pt x="7177" y="7147"/>
                    <a:pt x="7170" y="7201"/>
                    <a:pt x="7154" y="7256"/>
                  </a:cubicBezTo>
                  <a:cubicBezTo>
                    <a:pt x="7146" y="7284"/>
                    <a:pt x="7132" y="7289"/>
                    <a:pt x="7109" y="7272"/>
                  </a:cubicBezTo>
                  <a:cubicBezTo>
                    <a:pt x="7072" y="7245"/>
                    <a:pt x="7029" y="7227"/>
                    <a:pt x="7004" y="7185"/>
                  </a:cubicBezTo>
                  <a:cubicBezTo>
                    <a:pt x="6987" y="7157"/>
                    <a:pt x="6973" y="7130"/>
                    <a:pt x="6993" y="7098"/>
                  </a:cubicBezTo>
                  <a:cubicBezTo>
                    <a:pt x="6997" y="7091"/>
                    <a:pt x="7000" y="7083"/>
                    <a:pt x="7002" y="7075"/>
                  </a:cubicBezTo>
                  <a:cubicBezTo>
                    <a:pt x="7004" y="7065"/>
                    <a:pt x="7004" y="7054"/>
                    <a:pt x="6992" y="7048"/>
                  </a:cubicBezTo>
                  <a:cubicBezTo>
                    <a:pt x="6984" y="7044"/>
                    <a:pt x="6976" y="7045"/>
                    <a:pt x="6968" y="7050"/>
                  </a:cubicBezTo>
                  <a:cubicBezTo>
                    <a:pt x="6912" y="7083"/>
                    <a:pt x="6894" y="7150"/>
                    <a:pt x="6932" y="7204"/>
                  </a:cubicBezTo>
                  <a:cubicBezTo>
                    <a:pt x="6962" y="7245"/>
                    <a:pt x="6974" y="7287"/>
                    <a:pt x="6965" y="7338"/>
                  </a:cubicBezTo>
                  <a:cubicBezTo>
                    <a:pt x="6958" y="7381"/>
                    <a:pt x="6957" y="7424"/>
                    <a:pt x="6951" y="7467"/>
                  </a:cubicBezTo>
                  <a:cubicBezTo>
                    <a:pt x="6947" y="7494"/>
                    <a:pt x="6932" y="7499"/>
                    <a:pt x="6914" y="7481"/>
                  </a:cubicBezTo>
                  <a:cubicBezTo>
                    <a:pt x="6894" y="7461"/>
                    <a:pt x="6877" y="7441"/>
                    <a:pt x="6857" y="7422"/>
                  </a:cubicBezTo>
                  <a:cubicBezTo>
                    <a:pt x="6831" y="7396"/>
                    <a:pt x="6820" y="7364"/>
                    <a:pt x="6816" y="7327"/>
                  </a:cubicBezTo>
                  <a:cubicBezTo>
                    <a:pt x="6767" y="7357"/>
                    <a:pt x="6755" y="7389"/>
                    <a:pt x="6786" y="7428"/>
                  </a:cubicBezTo>
                  <a:cubicBezTo>
                    <a:pt x="6849" y="7505"/>
                    <a:pt x="6832" y="7578"/>
                    <a:pt x="6785" y="7652"/>
                  </a:cubicBezTo>
                  <a:cubicBezTo>
                    <a:pt x="6769" y="7678"/>
                    <a:pt x="6770" y="7707"/>
                    <a:pt x="6763" y="7735"/>
                  </a:cubicBezTo>
                  <a:cubicBezTo>
                    <a:pt x="6760" y="7745"/>
                    <a:pt x="6755" y="7755"/>
                    <a:pt x="6742" y="7756"/>
                  </a:cubicBezTo>
                  <a:cubicBezTo>
                    <a:pt x="6734" y="7756"/>
                    <a:pt x="6728" y="7749"/>
                    <a:pt x="6723" y="7742"/>
                  </a:cubicBezTo>
                  <a:cubicBezTo>
                    <a:pt x="6690" y="7696"/>
                    <a:pt x="6661" y="7647"/>
                    <a:pt x="6646" y="7593"/>
                  </a:cubicBezTo>
                  <a:cubicBezTo>
                    <a:pt x="6631" y="7542"/>
                    <a:pt x="6635" y="7490"/>
                    <a:pt x="6663" y="7442"/>
                  </a:cubicBezTo>
                  <a:cubicBezTo>
                    <a:pt x="6680" y="7414"/>
                    <a:pt x="6697" y="7385"/>
                    <a:pt x="6711" y="7355"/>
                  </a:cubicBezTo>
                  <a:cubicBezTo>
                    <a:pt x="6720" y="7335"/>
                    <a:pt x="6737" y="7310"/>
                    <a:pt x="6715" y="7291"/>
                  </a:cubicBezTo>
                  <a:cubicBezTo>
                    <a:pt x="6694" y="7272"/>
                    <a:pt x="6672" y="7291"/>
                    <a:pt x="6654" y="7305"/>
                  </a:cubicBezTo>
                  <a:cubicBezTo>
                    <a:pt x="6624" y="7327"/>
                    <a:pt x="6591" y="7344"/>
                    <a:pt x="6558" y="7362"/>
                  </a:cubicBezTo>
                  <a:cubicBezTo>
                    <a:pt x="6531" y="7377"/>
                    <a:pt x="6516" y="7368"/>
                    <a:pt x="6500" y="7350"/>
                  </a:cubicBezTo>
                  <a:cubicBezTo>
                    <a:pt x="6483" y="7330"/>
                    <a:pt x="6454" y="7315"/>
                    <a:pt x="6472" y="7281"/>
                  </a:cubicBezTo>
                  <a:cubicBezTo>
                    <a:pt x="6512" y="7206"/>
                    <a:pt x="6586" y="7117"/>
                    <a:pt x="6695" y="7133"/>
                  </a:cubicBezTo>
                  <a:cubicBezTo>
                    <a:pt x="6773" y="7144"/>
                    <a:pt x="6835" y="7130"/>
                    <a:pt x="6870" y="7051"/>
                  </a:cubicBezTo>
                  <a:cubicBezTo>
                    <a:pt x="6878" y="7033"/>
                    <a:pt x="6896" y="7019"/>
                    <a:pt x="6909" y="7003"/>
                  </a:cubicBezTo>
                  <a:cubicBezTo>
                    <a:pt x="6918" y="6993"/>
                    <a:pt x="6921" y="6980"/>
                    <a:pt x="6914" y="6968"/>
                  </a:cubicBezTo>
                  <a:cubicBezTo>
                    <a:pt x="6909" y="6959"/>
                    <a:pt x="6898" y="6957"/>
                    <a:pt x="6887" y="6958"/>
                  </a:cubicBezTo>
                  <a:cubicBezTo>
                    <a:pt x="6876" y="6959"/>
                    <a:pt x="6866" y="6958"/>
                    <a:pt x="6856" y="6961"/>
                  </a:cubicBezTo>
                  <a:cubicBezTo>
                    <a:pt x="6764" y="6990"/>
                    <a:pt x="6703" y="6934"/>
                    <a:pt x="6640" y="6883"/>
                  </a:cubicBezTo>
                  <a:cubicBezTo>
                    <a:pt x="6622" y="6869"/>
                    <a:pt x="6627" y="6851"/>
                    <a:pt x="6649" y="6838"/>
                  </a:cubicBezTo>
                  <a:cubicBezTo>
                    <a:pt x="6736" y="6787"/>
                    <a:pt x="6824" y="6781"/>
                    <a:pt x="6913" y="6832"/>
                  </a:cubicBezTo>
                  <a:cubicBezTo>
                    <a:pt x="6922" y="6837"/>
                    <a:pt x="6932" y="6840"/>
                    <a:pt x="6942" y="6844"/>
                  </a:cubicBezTo>
                  <a:cubicBezTo>
                    <a:pt x="7009" y="6875"/>
                    <a:pt x="7008" y="6874"/>
                    <a:pt x="7071" y="6840"/>
                  </a:cubicBezTo>
                  <a:cubicBezTo>
                    <a:pt x="7093" y="6829"/>
                    <a:pt x="7110" y="6803"/>
                    <a:pt x="7138" y="6812"/>
                  </a:cubicBezTo>
                  <a:cubicBezTo>
                    <a:pt x="7175" y="6825"/>
                    <a:pt x="7218" y="6826"/>
                    <a:pt x="7247" y="6856"/>
                  </a:cubicBezTo>
                  <a:cubicBezTo>
                    <a:pt x="7275" y="6884"/>
                    <a:pt x="7304" y="6900"/>
                    <a:pt x="7346" y="6897"/>
                  </a:cubicBezTo>
                  <a:cubicBezTo>
                    <a:pt x="7398" y="6892"/>
                    <a:pt x="7433" y="6859"/>
                    <a:pt x="7469" y="6828"/>
                  </a:cubicBezTo>
                  <a:cubicBezTo>
                    <a:pt x="7480" y="6820"/>
                    <a:pt x="7480" y="6806"/>
                    <a:pt x="7473" y="6794"/>
                  </a:cubicBezTo>
                  <a:cubicBezTo>
                    <a:pt x="7455" y="6764"/>
                    <a:pt x="7437" y="6735"/>
                    <a:pt x="7426" y="6700"/>
                  </a:cubicBezTo>
                  <a:cubicBezTo>
                    <a:pt x="7412" y="6661"/>
                    <a:pt x="7386" y="6658"/>
                    <a:pt x="7354" y="6686"/>
                  </a:cubicBezTo>
                  <a:cubicBezTo>
                    <a:pt x="7321" y="6715"/>
                    <a:pt x="7292" y="6747"/>
                    <a:pt x="7258" y="6775"/>
                  </a:cubicBezTo>
                  <a:cubicBezTo>
                    <a:pt x="7223" y="6806"/>
                    <a:pt x="7209" y="6801"/>
                    <a:pt x="7189" y="6758"/>
                  </a:cubicBezTo>
                  <a:cubicBezTo>
                    <a:pt x="7177" y="6733"/>
                    <a:pt x="7181" y="6705"/>
                    <a:pt x="7176" y="6679"/>
                  </a:cubicBezTo>
                  <a:cubicBezTo>
                    <a:pt x="7174" y="6671"/>
                    <a:pt x="7172" y="6661"/>
                    <a:pt x="7163" y="6659"/>
                  </a:cubicBezTo>
                  <a:cubicBezTo>
                    <a:pt x="7151" y="6656"/>
                    <a:pt x="7145" y="6665"/>
                    <a:pt x="7140" y="6675"/>
                  </a:cubicBezTo>
                  <a:cubicBezTo>
                    <a:pt x="7130" y="6698"/>
                    <a:pt x="7121" y="6721"/>
                    <a:pt x="7110" y="6743"/>
                  </a:cubicBezTo>
                  <a:cubicBezTo>
                    <a:pt x="7100" y="6764"/>
                    <a:pt x="7086" y="6765"/>
                    <a:pt x="7071" y="6749"/>
                  </a:cubicBezTo>
                  <a:cubicBezTo>
                    <a:pt x="7017" y="6695"/>
                    <a:pt x="7007" y="6605"/>
                    <a:pt x="7046" y="6536"/>
                  </a:cubicBezTo>
                  <a:cubicBezTo>
                    <a:pt x="7048" y="6533"/>
                    <a:pt x="7051" y="6530"/>
                    <a:pt x="7053" y="6526"/>
                  </a:cubicBezTo>
                  <a:cubicBezTo>
                    <a:pt x="7059" y="6517"/>
                    <a:pt x="7061" y="6506"/>
                    <a:pt x="7053" y="6498"/>
                  </a:cubicBezTo>
                  <a:cubicBezTo>
                    <a:pt x="7043" y="6487"/>
                    <a:pt x="7030" y="6488"/>
                    <a:pt x="7019" y="6496"/>
                  </a:cubicBezTo>
                  <a:cubicBezTo>
                    <a:pt x="6993" y="6517"/>
                    <a:pt x="6975" y="6544"/>
                    <a:pt x="6962" y="6576"/>
                  </a:cubicBezTo>
                  <a:cubicBezTo>
                    <a:pt x="6940" y="6632"/>
                    <a:pt x="6919" y="6689"/>
                    <a:pt x="6872" y="6731"/>
                  </a:cubicBezTo>
                  <a:cubicBezTo>
                    <a:pt x="6835" y="6766"/>
                    <a:pt x="6826" y="6765"/>
                    <a:pt x="6806" y="6720"/>
                  </a:cubicBezTo>
                  <a:cubicBezTo>
                    <a:pt x="6802" y="6711"/>
                    <a:pt x="6799" y="6700"/>
                    <a:pt x="6794" y="6692"/>
                  </a:cubicBezTo>
                  <a:cubicBezTo>
                    <a:pt x="6731" y="6585"/>
                    <a:pt x="6827" y="6451"/>
                    <a:pt x="6933" y="6441"/>
                  </a:cubicBezTo>
                  <a:cubicBezTo>
                    <a:pt x="6961" y="6438"/>
                    <a:pt x="6986" y="6431"/>
                    <a:pt x="7008" y="6415"/>
                  </a:cubicBezTo>
                  <a:cubicBezTo>
                    <a:pt x="7043" y="6391"/>
                    <a:pt x="7043" y="6368"/>
                    <a:pt x="7005" y="6354"/>
                  </a:cubicBezTo>
                  <a:cubicBezTo>
                    <a:pt x="6982" y="6345"/>
                    <a:pt x="6963" y="6334"/>
                    <a:pt x="6949" y="6316"/>
                  </a:cubicBezTo>
                  <a:cubicBezTo>
                    <a:pt x="6935" y="6300"/>
                    <a:pt x="6926" y="6281"/>
                    <a:pt x="6933" y="6258"/>
                  </a:cubicBezTo>
                  <a:cubicBezTo>
                    <a:pt x="6947" y="6214"/>
                    <a:pt x="6944" y="6168"/>
                    <a:pt x="6942" y="6122"/>
                  </a:cubicBezTo>
                  <a:cubicBezTo>
                    <a:pt x="6941" y="6091"/>
                    <a:pt x="6949" y="6084"/>
                    <a:pt x="6979" y="6091"/>
                  </a:cubicBezTo>
                  <a:cubicBezTo>
                    <a:pt x="6995" y="6094"/>
                    <a:pt x="7012" y="6096"/>
                    <a:pt x="7024" y="6109"/>
                  </a:cubicBezTo>
                  <a:cubicBezTo>
                    <a:pt x="7044" y="6131"/>
                    <a:pt x="7069" y="6147"/>
                    <a:pt x="7091" y="6165"/>
                  </a:cubicBezTo>
                  <a:cubicBezTo>
                    <a:pt x="7116" y="6185"/>
                    <a:pt x="7134" y="6211"/>
                    <a:pt x="7137" y="6244"/>
                  </a:cubicBezTo>
                  <a:cubicBezTo>
                    <a:pt x="7139" y="6263"/>
                    <a:pt x="7142" y="6281"/>
                    <a:pt x="7144" y="6300"/>
                  </a:cubicBezTo>
                  <a:cubicBezTo>
                    <a:pt x="7150" y="6359"/>
                    <a:pt x="7158" y="6365"/>
                    <a:pt x="7214" y="6353"/>
                  </a:cubicBezTo>
                  <a:cubicBezTo>
                    <a:pt x="7220" y="6352"/>
                    <a:pt x="7226" y="6350"/>
                    <a:pt x="7232" y="6349"/>
                  </a:cubicBezTo>
                  <a:cubicBezTo>
                    <a:pt x="7336" y="6326"/>
                    <a:pt x="7354" y="6333"/>
                    <a:pt x="7413" y="6440"/>
                  </a:cubicBezTo>
                  <a:cubicBezTo>
                    <a:pt x="7419" y="6451"/>
                    <a:pt x="7422" y="6463"/>
                    <a:pt x="7427" y="6475"/>
                  </a:cubicBezTo>
                  <a:cubicBezTo>
                    <a:pt x="7432" y="6487"/>
                    <a:pt x="7439" y="6498"/>
                    <a:pt x="7454" y="6494"/>
                  </a:cubicBezTo>
                  <a:cubicBezTo>
                    <a:pt x="7468" y="6491"/>
                    <a:pt x="7476" y="6478"/>
                    <a:pt x="7475" y="6466"/>
                  </a:cubicBezTo>
                  <a:cubicBezTo>
                    <a:pt x="7475" y="6420"/>
                    <a:pt x="7472" y="6375"/>
                    <a:pt x="7443" y="6336"/>
                  </a:cubicBezTo>
                  <a:cubicBezTo>
                    <a:pt x="7434" y="6324"/>
                    <a:pt x="7423" y="6313"/>
                    <a:pt x="7432" y="6297"/>
                  </a:cubicBezTo>
                  <a:cubicBezTo>
                    <a:pt x="7441" y="6282"/>
                    <a:pt x="7457" y="6286"/>
                    <a:pt x="7471" y="6285"/>
                  </a:cubicBezTo>
                  <a:cubicBezTo>
                    <a:pt x="7576" y="6283"/>
                    <a:pt x="7626" y="6344"/>
                    <a:pt x="7611" y="6448"/>
                  </a:cubicBezTo>
                  <a:cubicBezTo>
                    <a:pt x="7604" y="6500"/>
                    <a:pt x="7579" y="6536"/>
                    <a:pt x="7543" y="6570"/>
                  </a:cubicBezTo>
                  <a:cubicBezTo>
                    <a:pt x="7496" y="6615"/>
                    <a:pt x="7496" y="6636"/>
                    <a:pt x="7538" y="6685"/>
                  </a:cubicBezTo>
                  <a:cubicBezTo>
                    <a:pt x="7604" y="6764"/>
                    <a:pt x="7646" y="6774"/>
                    <a:pt x="7744" y="6731"/>
                  </a:cubicBezTo>
                  <a:cubicBezTo>
                    <a:pt x="7817" y="6699"/>
                    <a:pt x="7892" y="6676"/>
                    <a:pt x="7969" y="6659"/>
                  </a:cubicBezTo>
                  <a:cubicBezTo>
                    <a:pt x="8023" y="6648"/>
                    <a:pt x="8076" y="6642"/>
                    <a:pt x="8130" y="6648"/>
                  </a:cubicBezTo>
                  <a:cubicBezTo>
                    <a:pt x="8221" y="6656"/>
                    <a:pt x="8312" y="6661"/>
                    <a:pt x="8399" y="6691"/>
                  </a:cubicBezTo>
                  <a:cubicBezTo>
                    <a:pt x="8431" y="6702"/>
                    <a:pt x="8461" y="6716"/>
                    <a:pt x="8490" y="6732"/>
                  </a:cubicBezTo>
                  <a:cubicBezTo>
                    <a:pt x="8502" y="6740"/>
                    <a:pt x="8514" y="6749"/>
                    <a:pt x="8528" y="6752"/>
                  </a:cubicBezTo>
                  <a:cubicBezTo>
                    <a:pt x="8559" y="6759"/>
                    <a:pt x="8570" y="6751"/>
                    <a:pt x="8575" y="6719"/>
                  </a:cubicBezTo>
                  <a:cubicBezTo>
                    <a:pt x="8575" y="6717"/>
                    <a:pt x="8576" y="6715"/>
                    <a:pt x="8576" y="6713"/>
                  </a:cubicBezTo>
                  <a:cubicBezTo>
                    <a:pt x="8561" y="6610"/>
                    <a:pt x="8549" y="6506"/>
                    <a:pt x="8478" y="6422"/>
                  </a:cubicBezTo>
                  <a:cubicBezTo>
                    <a:pt x="8461" y="6402"/>
                    <a:pt x="8440" y="6384"/>
                    <a:pt x="8413" y="6376"/>
                  </a:cubicBezTo>
                  <a:cubicBezTo>
                    <a:pt x="8376" y="6367"/>
                    <a:pt x="8355" y="6385"/>
                    <a:pt x="8361" y="6422"/>
                  </a:cubicBezTo>
                  <a:cubicBezTo>
                    <a:pt x="8364" y="6438"/>
                    <a:pt x="8367" y="6455"/>
                    <a:pt x="8373" y="6470"/>
                  </a:cubicBezTo>
                  <a:cubicBezTo>
                    <a:pt x="8394" y="6519"/>
                    <a:pt x="8376" y="6565"/>
                    <a:pt x="8367" y="6611"/>
                  </a:cubicBezTo>
                  <a:cubicBezTo>
                    <a:pt x="8362" y="6632"/>
                    <a:pt x="8343" y="6649"/>
                    <a:pt x="8326" y="6635"/>
                  </a:cubicBezTo>
                  <a:cubicBezTo>
                    <a:pt x="8284" y="6602"/>
                    <a:pt x="8244" y="6563"/>
                    <a:pt x="8230" y="6509"/>
                  </a:cubicBezTo>
                  <a:cubicBezTo>
                    <a:pt x="8220" y="6468"/>
                    <a:pt x="8231" y="6431"/>
                    <a:pt x="8259" y="6399"/>
                  </a:cubicBezTo>
                  <a:cubicBezTo>
                    <a:pt x="8270" y="6386"/>
                    <a:pt x="8278" y="6370"/>
                    <a:pt x="8266" y="6353"/>
                  </a:cubicBezTo>
                  <a:cubicBezTo>
                    <a:pt x="8256" y="6340"/>
                    <a:pt x="8241" y="6341"/>
                    <a:pt x="8226" y="6342"/>
                  </a:cubicBezTo>
                  <a:cubicBezTo>
                    <a:pt x="8205" y="6345"/>
                    <a:pt x="8184" y="6344"/>
                    <a:pt x="8164" y="6347"/>
                  </a:cubicBezTo>
                  <a:cubicBezTo>
                    <a:pt x="8118" y="6356"/>
                    <a:pt x="8104" y="6387"/>
                    <a:pt x="8134" y="6423"/>
                  </a:cubicBezTo>
                  <a:cubicBezTo>
                    <a:pt x="8164" y="6459"/>
                    <a:pt x="8172" y="6506"/>
                    <a:pt x="8201" y="6542"/>
                  </a:cubicBezTo>
                  <a:cubicBezTo>
                    <a:pt x="8210" y="6554"/>
                    <a:pt x="8213" y="6573"/>
                    <a:pt x="8215" y="6590"/>
                  </a:cubicBezTo>
                  <a:cubicBezTo>
                    <a:pt x="8219" y="6617"/>
                    <a:pt x="8207" y="6624"/>
                    <a:pt x="8179" y="6613"/>
                  </a:cubicBezTo>
                  <a:cubicBezTo>
                    <a:pt x="8170" y="6609"/>
                    <a:pt x="8161" y="6603"/>
                    <a:pt x="8151" y="6601"/>
                  </a:cubicBezTo>
                  <a:cubicBezTo>
                    <a:pt x="8101" y="6589"/>
                    <a:pt x="8073" y="6557"/>
                    <a:pt x="8057" y="6510"/>
                  </a:cubicBezTo>
                  <a:cubicBezTo>
                    <a:pt x="8049" y="6487"/>
                    <a:pt x="8042" y="6456"/>
                    <a:pt x="8012" y="6455"/>
                  </a:cubicBezTo>
                  <a:cubicBezTo>
                    <a:pt x="7984" y="6455"/>
                    <a:pt x="7976" y="6484"/>
                    <a:pt x="7965" y="6507"/>
                  </a:cubicBezTo>
                  <a:cubicBezTo>
                    <a:pt x="7943" y="6553"/>
                    <a:pt x="7912" y="6588"/>
                    <a:pt x="7860" y="6606"/>
                  </a:cubicBezTo>
                  <a:cubicBezTo>
                    <a:pt x="7813" y="6622"/>
                    <a:pt x="7770" y="6648"/>
                    <a:pt x="7725" y="6670"/>
                  </a:cubicBezTo>
                  <a:cubicBezTo>
                    <a:pt x="7707" y="6578"/>
                    <a:pt x="7756" y="6475"/>
                    <a:pt x="7835" y="6448"/>
                  </a:cubicBezTo>
                  <a:cubicBezTo>
                    <a:pt x="7892" y="6429"/>
                    <a:pt x="7927" y="6385"/>
                    <a:pt x="7971" y="6351"/>
                  </a:cubicBezTo>
                  <a:cubicBezTo>
                    <a:pt x="7988" y="6338"/>
                    <a:pt x="7982" y="6316"/>
                    <a:pt x="7962" y="6306"/>
                  </a:cubicBezTo>
                  <a:cubicBezTo>
                    <a:pt x="7945" y="6297"/>
                    <a:pt x="7926" y="6299"/>
                    <a:pt x="7907" y="6298"/>
                  </a:cubicBezTo>
                  <a:cubicBezTo>
                    <a:pt x="7832" y="6295"/>
                    <a:pt x="7791" y="6264"/>
                    <a:pt x="7771" y="6194"/>
                  </a:cubicBezTo>
                  <a:cubicBezTo>
                    <a:pt x="7766" y="6173"/>
                    <a:pt x="7756" y="6155"/>
                    <a:pt x="7748" y="6136"/>
                  </a:cubicBezTo>
                  <a:cubicBezTo>
                    <a:pt x="7737" y="6108"/>
                    <a:pt x="7748" y="6090"/>
                    <a:pt x="7774" y="6096"/>
                  </a:cubicBezTo>
                  <a:cubicBezTo>
                    <a:pt x="7831" y="6111"/>
                    <a:pt x="7888" y="6111"/>
                    <a:pt x="7946" y="6113"/>
                  </a:cubicBezTo>
                  <a:cubicBezTo>
                    <a:pt x="7985" y="6114"/>
                    <a:pt x="8017" y="6140"/>
                    <a:pt x="8036" y="6174"/>
                  </a:cubicBezTo>
                  <a:cubicBezTo>
                    <a:pt x="8066" y="6231"/>
                    <a:pt x="8109" y="6252"/>
                    <a:pt x="8174" y="6242"/>
                  </a:cubicBezTo>
                  <a:cubicBezTo>
                    <a:pt x="8214" y="6235"/>
                    <a:pt x="8257" y="6245"/>
                    <a:pt x="8298" y="6247"/>
                  </a:cubicBezTo>
                  <a:cubicBezTo>
                    <a:pt x="8310" y="6248"/>
                    <a:pt x="8319" y="6244"/>
                    <a:pt x="8323" y="6232"/>
                  </a:cubicBezTo>
                  <a:cubicBezTo>
                    <a:pt x="8325" y="6224"/>
                    <a:pt x="8321" y="6215"/>
                    <a:pt x="8314" y="6210"/>
                  </a:cubicBezTo>
                  <a:cubicBezTo>
                    <a:pt x="8282" y="6184"/>
                    <a:pt x="8254" y="6152"/>
                    <a:pt x="8209" y="6148"/>
                  </a:cubicBezTo>
                  <a:cubicBezTo>
                    <a:pt x="8181" y="6145"/>
                    <a:pt x="8160" y="6129"/>
                    <a:pt x="8130" y="6112"/>
                  </a:cubicBezTo>
                  <a:cubicBezTo>
                    <a:pt x="8176" y="6074"/>
                    <a:pt x="8224" y="6066"/>
                    <a:pt x="8272" y="6064"/>
                  </a:cubicBezTo>
                  <a:cubicBezTo>
                    <a:pt x="8303" y="6063"/>
                    <a:pt x="8335" y="6069"/>
                    <a:pt x="8365" y="6074"/>
                  </a:cubicBezTo>
                  <a:cubicBezTo>
                    <a:pt x="8402" y="6080"/>
                    <a:pt x="8427" y="6104"/>
                    <a:pt x="8449" y="6134"/>
                  </a:cubicBezTo>
                  <a:cubicBezTo>
                    <a:pt x="8470" y="6161"/>
                    <a:pt x="8483" y="6157"/>
                    <a:pt x="8495" y="6124"/>
                  </a:cubicBezTo>
                  <a:cubicBezTo>
                    <a:pt x="8503" y="6103"/>
                    <a:pt x="8504" y="6080"/>
                    <a:pt x="8506" y="6057"/>
                  </a:cubicBezTo>
                  <a:cubicBezTo>
                    <a:pt x="8513" y="5986"/>
                    <a:pt x="8529" y="5922"/>
                    <a:pt x="8603" y="5888"/>
                  </a:cubicBezTo>
                  <a:cubicBezTo>
                    <a:pt x="8630" y="5876"/>
                    <a:pt x="8649" y="5849"/>
                    <a:pt x="8651" y="5819"/>
                  </a:cubicBezTo>
                  <a:cubicBezTo>
                    <a:pt x="8655" y="5776"/>
                    <a:pt x="8671" y="5739"/>
                    <a:pt x="8690" y="5701"/>
                  </a:cubicBezTo>
                  <a:cubicBezTo>
                    <a:pt x="8697" y="5689"/>
                    <a:pt x="8706" y="5674"/>
                    <a:pt x="8688" y="5663"/>
                  </a:cubicBezTo>
                  <a:cubicBezTo>
                    <a:pt x="8675" y="5655"/>
                    <a:pt x="8659" y="5658"/>
                    <a:pt x="8648" y="5669"/>
                  </a:cubicBezTo>
                  <a:cubicBezTo>
                    <a:pt x="8623" y="5695"/>
                    <a:pt x="8608" y="5727"/>
                    <a:pt x="8590" y="5757"/>
                  </a:cubicBezTo>
                  <a:cubicBezTo>
                    <a:pt x="8579" y="5774"/>
                    <a:pt x="8581" y="5805"/>
                    <a:pt x="8556" y="5805"/>
                  </a:cubicBezTo>
                  <a:cubicBezTo>
                    <a:pt x="8530" y="5806"/>
                    <a:pt x="8527" y="5775"/>
                    <a:pt x="8513" y="5757"/>
                  </a:cubicBezTo>
                  <a:cubicBezTo>
                    <a:pt x="8488" y="5724"/>
                    <a:pt x="8479" y="5687"/>
                    <a:pt x="8478" y="5646"/>
                  </a:cubicBezTo>
                  <a:cubicBezTo>
                    <a:pt x="8477" y="5580"/>
                    <a:pt x="8514" y="5534"/>
                    <a:pt x="8566" y="5505"/>
                  </a:cubicBezTo>
                  <a:cubicBezTo>
                    <a:pt x="8610" y="5481"/>
                    <a:pt x="8658" y="5489"/>
                    <a:pt x="8702" y="5518"/>
                  </a:cubicBezTo>
                  <a:cubicBezTo>
                    <a:pt x="8743" y="5546"/>
                    <a:pt x="8745" y="5544"/>
                    <a:pt x="8782" y="5514"/>
                  </a:cubicBezTo>
                  <a:cubicBezTo>
                    <a:pt x="8820" y="5484"/>
                    <a:pt x="8858" y="5456"/>
                    <a:pt x="8896" y="5427"/>
                  </a:cubicBezTo>
                  <a:cubicBezTo>
                    <a:pt x="8908" y="5418"/>
                    <a:pt x="8920" y="5407"/>
                    <a:pt x="8914" y="5391"/>
                  </a:cubicBezTo>
                  <a:cubicBezTo>
                    <a:pt x="8908" y="5373"/>
                    <a:pt x="8892" y="5374"/>
                    <a:pt x="8877" y="5375"/>
                  </a:cubicBezTo>
                  <a:cubicBezTo>
                    <a:pt x="8844" y="5377"/>
                    <a:pt x="8811" y="5380"/>
                    <a:pt x="8778" y="5383"/>
                  </a:cubicBezTo>
                  <a:cubicBezTo>
                    <a:pt x="8761" y="5385"/>
                    <a:pt x="8745" y="5390"/>
                    <a:pt x="8728" y="5388"/>
                  </a:cubicBezTo>
                  <a:cubicBezTo>
                    <a:pt x="8676" y="5381"/>
                    <a:pt x="8636" y="5362"/>
                    <a:pt x="8610" y="5310"/>
                  </a:cubicBezTo>
                  <a:cubicBezTo>
                    <a:pt x="8584" y="5258"/>
                    <a:pt x="8547" y="5212"/>
                    <a:pt x="8519" y="5161"/>
                  </a:cubicBezTo>
                  <a:cubicBezTo>
                    <a:pt x="8474" y="5081"/>
                    <a:pt x="8404" y="5032"/>
                    <a:pt x="8326" y="4991"/>
                  </a:cubicBezTo>
                  <a:cubicBezTo>
                    <a:pt x="8285" y="4969"/>
                    <a:pt x="8239" y="4963"/>
                    <a:pt x="8195" y="4953"/>
                  </a:cubicBezTo>
                  <a:cubicBezTo>
                    <a:pt x="8189" y="4951"/>
                    <a:pt x="8181" y="4951"/>
                    <a:pt x="8176" y="4953"/>
                  </a:cubicBezTo>
                  <a:cubicBezTo>
                    <a:pt x="8101" y="4985"/>
                    <a:pt x="8016" y="4998"/>
                    <a:pt x="7955" y="5061"/>
                  </a:cubicBezTo>
                  <a:cubicBezTo>
                    <a:pt x="7909" y="5109"/>
                    <a:pt x="7872" y="5166"/>
                    <a:pt x="7818" y="5206"/>
                  </a:cubicBezTo>
                  <a:cubicBezTo>
                    <a:pt x="7747" y="5258"/>
                    <a:pt x="7670" y="5300"/>
                    <a:pt x="7588" y="5329"/>
                  </a:cubicBezTo>
                  <a:cubicBezTo>
                    <a:pt x="7535" y="5348"/>
                    <a:pt x="7477" y="5335"/>
                    <a:pt x="7421" y="5337"/>
                  </a:cubicBezTo>
                  <a:cubicBezTo>
                    <a:pt x="7394" y="5338"/>
                    <a:pt x="7367" y="5335"/>
                    <a:pt x="7340" y="5337"/>
                  </a:cubicBezTo>
                  <a:cubicBezTo>
                    <a:pt x="7306" y="5340"/>
                    <a:pt x="7298" y="5360"/>
                    <a:pt x="7314" y="5389"/>
                  </a:cubicBezTo>
                  <a:cubicBezTo>
                    <a:pt x="7320" y="5399"/>
                    <a:pt x="7331" y="5409"/>
                    <a:pt x="7334" y="5420"/>
                  </a:cubicBezTo>
                  <a:cubicBezTo>
                    <a:pt x="7341" y="5444"/>
                    <a:pt x="7348" y="5471"/>
                    <a:pt x="7333" y="5492"/>
                  </a:cubicBezTo>
                  <a:cubicBezTo>
                    <a:pt x="7318" y="5512"/>
                    <a:pt x="7294" y="5494"/>
                    <a:pt x="7274" y="5494"/>
                  </a:cubicBezTo>
                  <a:cubicBezTo>
                    <a:pt x="7251" y="5493"/>
                    <a:pt x="7231" y="5484"/>
                    <a:pt x="7213" y="5468"/>
                  </a:cubicBezTo>
                  <a:cubicBezTo>
                    <a:pt x="7192" y="5450"/>
                    <a:pt x="7170" y="5435"/>
                    <a:pt x="7149" y="5418"/>
                  </a:cubicBezTo>
                  <a:cubicBezTo>
                    <a:pt x="7141" y="5411"/>
                    <a:pt x="7132" y="5405"/>
                    <a:pt x="7121" y="5410"/>
                  </a:cubicBezTo>
                  <a:cubicBezTo>
                    <a:pt x="7110" y="5415"/>
                    <a:pt x="7108" y="5426"/>
                    <a:pt x="7110" y="5437"/>
                  </a:cubicBezTo>
                  <a:cubicBezTo>
                    <a:pt x="7118" y="5480"/>
                    <a:pt x="7128" y="5521"/>
                    <a:pt x="7160" y="5555"/>
                  </a:cubicBezTo>
                  <a:cubicBezTo>
                    <a:pt x="7197" y="5594"/>
                    <a:pt x="7243" y="5618"/>
                    <a:pt x="7292" y="5636"/>
                  </a:cubicBezTo>
                  <a:cubicBezTo>
                    <a:pt x="7341" y="5654"/>
                    <a:pt x="7376" y="5685"/>
                    <a:pt x="7408" y="5726"/>
                  </a:cubicBezTo>
                  <a:cubicBezTo>
                    <a:pt x="7433" y="5760"/>
                    <a:pt x="7432" y="5796"/>
                    <a:pt x="7432" y="5833"/>
                  </a:cubicBezTo>
                  <a:cubicBezTo>
                    <a:pt x="7431" y="5857"/>
                    <a:pt x="7414" y="5866"/>
                    <a:pt x="7393" y="5854"/>
                  </a:cubicBezTo>
                  <a:cubicBezTo>
                    <a:pt x="7348" y="5831"/>
                    <a:pt x="7302" y="5831"/>
                    <a:pt x="7253" y="5835"/>
                  </a:cubicBezTo>
                  <a:cubicBezTo>
                    <a:pt x="7146" y="5843"/>
                    <a:pt x="7078" y="5782"/>
                    <a:pt x="7084" y="5671"/>
                  </a:cubicBezTo>
                  <a:cubicBezTo>
                    <a:pt x="7087" y="5611"/>
                    <a:pt x="7077" y="5555"/>
                    <a:pt x="7056" y="5500"/>
                  </a:cubicBezTo>
                  <a:cubicBezTo>
                    <a:pt x="7053" y="5490"/>
                    <a:pt x="7050" y="5480"/>
                    <a:pt x="7045" y="5471"/>
                  </a:cubicBezTo>
                  <a:cubicBezTo>
                    <a:pt x="7040" y="5461"/>
                    <a:pt x="7033" y="5454"/>
                    <a:pt x="7021" y="5454"/>
                  </a:cubicBezTo>
                  <a:cubicBezTo>
                    <a:pt x="7008" y="5454"/>
                    <a:pt x="7003" y="5465"/>
                    <a:pt x="7001" y="5475"/>
                  </a:cubicBezTo>
                  <a:cubicBezTo>
                    <a:pt x="6994" y="5503"/>
                    <a:pt x="6986" y="5530"/>
                    <a:pt x="6977" y="5558"/>
                  </a:cubicBezTo>
                  <a:cubicBezTo>
                    <a:pt x="6955" y="5630"/>
                    <a:pt x="6890" y="5649"/>
                    <a:pt x="6835" y="5681"/>
                  </a:cubicBezTo>
                  <a:cubicBezTo>
                    <a:pt x="6822" y="5688"/>
                    <a:pt x="6812" y="5676"/>
                    <a:pt x="6810" y="5662"/>
                  </a:cubicBezTo>
                  <a:cubicBezTo>
                    <a:pt x="6798" y="5570"/>
                    <a:pt x="6820" y="5489"/>
                    <a:pt x="6892" y="5426"/>
                  </a:cubicBezTo>
                  <a:cubicBezTo>
                    <a:pt x="6911" y="5410"/>
                    <a:pt x="6931" y="5395"/>
                    <a:pt x="6952" y="5380"/>
                  </a:cubicBezTo>
                  <a:cubicBezTo>
                    <a:pt x="6963" y="5372"/>
                    <a:pt x="6970" y="5364"/>
                    <a:pt x="6968" y="5350"/>
                  </a:cubicBezTo>
                  <a:cubicBezTo>
                    <a:pt x="6964" y="5331"/>
                    <a:pt x="6950" y="5328"/>
                    <a:pt x="6935" y="5327"/>
                  </a:cubicBezTo>
                  <a:cubicBezTo>
                    <a:pt x="6916" y="5326"/>
                    <a:pt x="6896" y="5322"/>
                    <a:pt x="6879" y="5327"/>
                  </a:cubicBezTo>
                  <a:cubicBezTo>
                    <a:pt x="6793" y="5351"/>
                    <a:pt x="6706" y="5373"/>
                    <a:pt x="6632" y="5426"/>
                  </a:cubicBezTo>
                  <a:cubicBezTo>
                    <a:pt x="6556" y="5481"/>
                    <a:pt x="6550" y="5546"/>
                    <a:pt x="6615" y="5614"/>
                  </a:cubicBezTo>
                  <a:cubicBezTo>
                    <a:pt x="6627" y="5626"/>
                    <a:pt x="6640" y="5636"/>
                    <a:pt x="6653" y="5646"/>
                  </a:cubicBezTo>
                  <a:cubicBezTo>
                    <a:pt x="6714" y="5697"/>
                    <a:pt x="6748" y="5761"/>
                    <a:pt x="6755" y="5839"/>
                  </a:cubicBezTo>
                  <a:cubicBezTo>
                    <a:pt x="6760" y="5891"/>
                    <a:pt x="6739" y="5907"/>
                    <a:pt x="6693" y="5884"/>
                  </a:cubicBezTo>
                  <a:cubicBezTo>
                    <a:pt x="6656" y="5866"/>
                    <a:pt x="6621" y="5844"/>
                    <a:pt x="6587" y="5820"/>
                  </a:cubicBezTo>
                  <a:cubicBezTo>
                    <a:pt x="6549" y="5794"/>
                    <a:pt x="6529" y="5755"/>
                    <a:pt x="6531" y="5708"/>
                  </a:cubicBezTo>
                  <a:cubicBezTo>
                    <a:pt x="6532" y="5695"/>
                    <a:pt x="6533" y="5683"/>
                    <a:pt x="6532" y="5670"/>
                  </a:cubicBezTo>
                  <a:cubicBezTo>
                    <a:pt x="6532" y="5662"/>
                    <a:pt x="6529" y="5653"/>
                    <a:pt x="6519" y="5653"/>
                  </a:cubicBezTo>
                  <a:cubicBezTo>
                    <a:pt x="6513" y="5653"/>
                    <a:pt x="6507" y="5655"/>
                    <a:pt x="6502" y="5658"/>
                  </a:cubicBezTo>
                  <a:cubicBezTo>
                    <a:pt x="6497" y="5661"/>
                    <a:pt x="6492" y="5667"/>
                    <a:pt x="6490" y="5672"/>
                  </a:cubicBezTo>
                  <a:cubicBezTo>
                    <a:pt x="6467" y="5740"/>
                    <a:pt x="6454" y="5811"/>
                    <a:pt x="6466" y="5880"/>
                  </a:cubicBezTo>
                  <a:cubicBezTo>
                    <a:pt x="6475" y="5934"/>
                    <a:pt x="6522" y="5971"/>
                    <a:pt x="6565" y="5997"/>
                  </a:cubicBezTo>
                  <a:cubicBezTo>
                    <a:pt x="6670" y="6059"/>
                    <a:pt x="6675" y="6160"/>
                    <a:pt x="6680" y="6263"/>
                  </a:cubicBezTo>
                  <a:cubicBezTo>
                    <a:pt x="6681" y="6287"/>
                    <a:pt x="6661" y="6296"/>
                    <a:pt x="6641" y="6281"/>
                  </a:cubicBezTo>
                  <a:cubicBezTo>
                    <a:pt x="6582" y="6239"/>
                    <a:pt x="6524" y="6196"/>
                    <a:pt x="6482" y="6135"/>
                  </a:cubicBezTo>
                  <a:cubicBezTo>
                    <a:pt x="6473" y="6121"/>
                    <a:pt x="6468" y="6105"/>
                    <a:pt x="6465" y="6088"/>
                  </a:cubicBezTo>
                  <a:cubicBezTo>
                    <a:pt x="6462" y="6074"/>
                    <a:pt x="6457" y="6060"/>
                    <a:pt x="6452" y="6047"/>
                  </a:cubicBezTo>
                  <a:cubicBezTo>
                    <a:pt x="6447" y="6035"/>
                    <a:pt x="6439" y="6023"/>
                    <a:pt x="6425" y="6024"/>
                  </a:cubicBezTo>
                  <a:cubicBezTo>
                    <a:pt x="6409" y="6025"/>
                    <a:pt x="6407" y="6039"/>
                    <a:pt x="6404" y="6051"/>
                  </a:cubicBezTo>
                  <a:cubicBezTo>
                    <a:pt x="6392" y="6102"/>
                    <a:pt x="6394" y="6151"/>
                    <a:pt x="6417" y="6198"/>
                  </a:cubicBezTo>
                  <a:cubicBezTo>
                    <a:pt x="6449" y="6261"/>
                    <a:pt x="6432" y="6310"/>
                    <a:pt x="6385" y="6360"/>
                  </a:cubicBezTo>
                  <a:cubicBezTo>
                    <a:pt x="6345" y="6402"/>
                    <a:pt x="6290" y="6427"/>
                    <a:pt x="6259" y="6479"/>
                  </a:cubicBezTo>
                  <a:cubicBezTo>
                    <a:pt x="6251" y="6492"/>
                    <a:pt x="6235" y="6487"/>
                    <a:pt x="6232" y="6471"/>
                  </a:cubicBezTo>
                  <a:cubicBezTo>
                    <a:pt x="6222" y="6425"/>
                    <a:pt x="6212" y="6378"/>
                    <a:pt x="6207" y="6330"/>
                  </a:cubicBezTo>
                  <a:cubicBezTo>
                    <a:pt x="6202" y="6283"/>
                    <a:pt x="6217" y="6239"/>
                    <a:pt x="6248" y="6203"/>
                  </a:cubicBezTo>
                  <a:cubicBezTo>
                    <a:pt x="6294" y="6147"/>
                    <a:pt x="6323" y="6083"/>
                    <a:pt x="6338" y="6013"/>
                  </a:cubicBezTo>
                  <a:cubicBezTo>
                    <a:pt x="6341" y="6001"/>
                    <a:pt x="6343" y="5988"/>
                    <a:pt x="6342" y="5976"/>
                  </a:cubicBezTo>
                  <a:cubicBezTo>
                    <a:pt x="6340" y="5960"/>
                    <a:pt x="6328" y="5957"/>
                    <a:pt x="6315" y="5965"/>
                  </a:cubicBezTo>
                  <a:cubicBezTo>
                    <a:pt x="6300" y="5974"/>
                    <a:pt x="6290" y="5987"/>
                    <a:pt x="6284" y="6003"/>
                  </a:cubicBezTo>
                  <a:cubicBezTo>
                    <a:pt x="6257" y="6082"/>
                    <a:pt x="6192" y="6118"/>
                    <a:pt x="6121" y="6146"/>
                  </a:cubicBezTo>
                  <a:cubicBezTo>
                    <a:pt x="6095" y="6157"/>
                    <a:pt x="6081" y="6147"/>
                    <a:pt x="6082" y="6119"/>
                  </a:cubicBezTo>
                  <a:cubicBezTo>
                    <a:pt x="6086" y="6050"/>
                    <a:pt x="6093" y="5982"/>
                    <a:pt x="6124" y="5919"/>
                  </a:cubicBezTo>
                  <a:cubicBezTo>
                    <a:pt x="6149" y="5870"/>
                    <a:pt x="6186" y="5842"/>
                    <a:pt x="6241" y="5838"/>
                  </a:cubicBezTo>
                  <a:cubicBezTo>
                    <a:pt x="6266" y="5837"/>
                    <a:pt x="6291" y="5836"/>
                    <a:pt x="6316" y="5836"/>
                  </a:cubicBezTo>
                  <a:cubicBezTo>
                    <a:pt x="6346" y="5837"/>
                    <a:pt x="6364" y="5822"/>
                    <a:pt x="6367" y="5793"/>
                  </a:cubicBezTo>
                  <a:cubicBezTo>
                    <a:pt x="6375" y="5726"/>
                    <a:pt x="6400" y="5665"/>
                    <a:pt x="6426" y="5604"/>
                  </a:cubicBezTo>
                  <a:cubicBezTo>
                    <a:pt x="6432" y="5590"/>
                    <a:pt x="6436" y="5574"/>
                    <a:pt x="6422" y="5563"/>
                  </a:cubicBezTo>
                  <a:cubicBezTo>
                    <a:pt x="6409" y="5553"/>
                    <a:pt x="6394" y="5559"/>
                    <a:pt x="6382" y="5569"/>
                  </a:cubicBezTo>
                  <a:cubicBezTo>
                    <a:pt x="6349" y="5594"/>
                    <a:pt x="6316" y="5619"/>
                    <a:pt x="6306" y="5664"/>
                  </a:cubicBezTo>
                  <a:cubicBezTo>
                    <a:pt x="6301" y="5684"/>
                    <a:pt x="6294" y="5704"/>
                    <a:pt x="6286" y="5723"/>
                  </a:cubicBezTo>
                  <a:cubicBezTo>
                    <a:pt x="6280" y="5740"/>
                    <a:pt x="6288" y="5767"/>
                    <a:pt x="6265" y="5771"/>
                  </a:cubicBezTo>
                  <a:cubicBezTo>
                    <a:pt x="6238" y="5775"/>
                    <a:pt x="6235" y="5749"/>
                    <a:pt x="6226" y="5730"/>
                  </a:cubicBezTo>
                  <a:cubicBezTo>
                    <a:pt x="6189" y="5656"/>
                    <a:pt x="6187" y="5583"/>
                    <a:pt x="6234" y="5512"/>
                  </a:cubicBezTo>
                  <a:cubicBezTo>
                    <a:pt x="6240" y="5503"/>
                    <a:pt x="6247" y="5495"/>
                    <a:pt x="6252" y="5487"/>
                  </a:cubicBezTo>
                  <a:cubicBezTo>
                    <a:pt x="6259" y="5476"/>
                    <a:pt x="6263" y="5463"/>
                    <a:pt x="6254" y="5452"/>
                  </a:cubicBezTo>
                  <a:cubicBezTo>
                    <a:pt x="6246" y="5440"/>
                    <a:pt x="6233" y="5438"/>
                    <a:pt x="6221" y="5441"/>
                  </a:cubicBezTo>
                  <a:cubicBezTo>
                    <a:pt x="6205" y="5445"/>
                    <a:pt x="6189" y="5452"/>
                    <a:pt x="6174" y="5458"/>
                  </a:cubicBezTo>
                  <a:cubicBezTo>
                    <a:pt x="6075" y="5498"/>
                    <a:pt x="5995" y="5564"/>
                    <a:pt x="5933" y="5649"/>
                  </a:cubicBezTo>
                  <a:cubicBezTo>
                    <a:pt x="5890" y="5707"/>
                    <a:pt x="5837" y="5737"/>
                    <a:pt x="5764" y="5737"/>
                  </a:cubicBezTo>
                  <a:cubicBezTo>
                    <a:pt x="5715" y="5738"/>
                    <a:pt x="5666" y="5742"/>
                    <a:pt x="5621" y="5773"/>
                  </a:cubicBezTo>
                  <a:cubicBezTo>
                    <a:pt x="5541" y="5828"/>
                    <a:pt x="5513" y="5891"/>
                    <a:pt x="5529" y="5987"/>
                  </a:cubicBezTo>
                  <a:cubicBezTo>
                    <a:pt x="5536" y="6024"/>
                    <a:pt x="5559" y="6046"/>
                    <a:pt x="5589" y="6061"/>
                  </a:cubicBezTo>
                  <a:cubicBezTo>
                    <a:pt x="5613" y="6074"/>
                    <a:pt x="5638" y="6086"/>
                    <a:pt x="5664" y="6093"/>
                  </a:cubicBezTo>
                  <a:cubicBezTo>
                    <a:pt x="5756" y="6121"/>
                    <a:pt x="5787" y="6198"/>
                    <a:pt x="5814" y="6277"/>
                  </a:cubicBezTo>
                  <a:cubicBezTo>
                    <a:pt x="5822" y="6302"/>
                    <a:pt x="5805" y="6317"/>
                    <a:pt x="5779" y="6313"/>
                  </a:cubicBezTo>
                  <a:cubicBezTo>
                    <a:pt x="5680" y="6300"/>
                    <a:pt x="5604" y="6253"/>
                    <a:pt x="5557" y="6163"/>
                  </a:cubicBezTo>
                  <a:cubicBezTo>
                    <a:pt x="5554" y="6155"/>
                    <a:pt x="5550" y="6148"/>
                    <a:pt x="5545" y="6141"/>
                  </a:cubicBezTo>
                  <a:cubicBezTo>
                    <a:pt x="5540" y="6131"/>
                    <a:pt x="5533" y="6123"/>
                    <a:pt x="5521" y="6124"/>
                  </a:cubicBezTo>
                  <a:cubicBezTo>
                    <a:pt x="5509" y="6125"/>
                    <a:pt x="5503" y="6134"/>
                    <a:pt x="5501" y="6144"/>
                  </a:cubicBezTo>
                  <a:cubicBezTo>
                    <a:pt x="5489" y="6202"/>
                    <a:pt x="5483" y="6260"/>
                    <a:pt x="5510" y="6316"/>
                  </a:cubicBezTo>
                  <a:cubicBezTo>
                    <a:pt x="5520" y="6338"/>
                    <a:pt x="5537" y="6353"/>
                    <a:pt x="5562" y="6355"/>
                  </a:cubicBezTo>
                  <a:cubicBezTo>
                    <a:pt x="5652" y="6361"/>
                    <a:pt x="5710" y="6412"/>
                    <a:pt x="5753" y="6486"/>
                  </a:cubicBezTo>
                  <a:cubicBezTo>
                    <a:pt x="5772" y="6518"/>
                    <a:pt x="5791" y="6551"/>
                    <a:pt x="5816" y="6579"/>
                  </a:cubicBezTo>
                  <a:cubicBezTo>
                    <a:pt x="5839" y="6606"/>
                    <a:pt x="5829" y="6624"/>
                    <a:pt x="5794" y="6628"/>
                  </a:cubicBezTo>
                  <a:cubicBezTo>
                    <a:pt x="5715" y="6636"/>
                    <a:pt x="5647" y="6604"/>
                    <a:pt x="5582" y="6568"/>
                  </a:cubicBezTo>
                  <a:cubicBezTo>
                    <a:pt x="5549" y="6550"/>
                    <a:pt x="5534" y="6511"/>
                    <a:pt x="5519" y="6477"/>
                  </a:cubicBezTo>
                  <a:cubicBezTo>
                    <a:pt x="5513" y="6465"/>
                    <a:pt x="5510" y="6452"/>
                    <a:pt x="5493" y="6457"/>
                  </a:cubicBezTo>
                  <a:cubicBezTo>
                    <a:pt x="5479" y="6462"/>
                    <a:pt x="5478" y="6476"/>
                    <a:pt x="5478" y="6488"/>
                  </a:cubicBezTo>
                  <a:cubicBezTo>
                    <a:pt x="5477" y="6572"/>
                    <a:pt x="5504" y="6640"/>
                    <a:pt x="5588" y="6672"/>
                  </a:cubicBezTo>
                  <a:cubicBezTo>
                    <a:pt x="5647" y="6694"/>
                    <a:pt x="5673" y="6734"/>
                    <a:pt x="5689" y="6794"/>
                  </a:cubicBezTo>
                  <a:cubicBezTo>
                    <a:pt x="5704" y="6855"/>
                    <a:pt x="5701" y="6914"/>
                    <a:pt x="5703" y="6974"/>
                  </a:cubicBezTo>
                  <a:cubicBezTo>
                    <a:pt x="5704" y="6982"/>
                    <a:pt x="5702" y="6991"/>
                    <a:pt x="5698" y="6998"/>
                  </a:cubicBezTo>
                  <a:cubicBezTo>
                    <a:pt x="5689" y="7016"/>
                    <a:pt x="5681" y="7023"/>
                    <a:pt x="5656" y="7011"/>
                  </a:cubicBezTo>
                  <a:cubicBezTo>
                    <a:pt x="5551" y="6959"/>
                    <a:pt x="5510" y="6862"/>
                    <a:pt x="5467" y="6764"/>
                  </a:cubicBezTo>
                  <a:cubicBezTo>
                    <a:pt x="5435" y="6690"/>
                    <a:pt x="5436" y="6610"/>
                    <a:pt x="5426" y="6532"/>
                  </a:cubicBezTo>
                  <a:cubicBezTo>
                    <a:pt x="5424" y="6518"/>
                    <a:pt x="5431" y="6500"/>
                    <a:pt x="5410" y="6497"/>
                  </a:cubicBezTo>
                  <a:cubicBezTo>
                    <a:pt x="5391" y="6493"/>
                    <a:pt x="5378" y="6506"/>
                    <a:pt x="5373" y="6523"/>
                  </a:cubicBezTo>
                  <a:cubicBezTo>
                    <a:pt x="5356" y="6580"/>
                    <a:pt x="5317" y="6619"/>
                    <a:pt x="5270" y="6652"/>
                  </a:cubicBezTo>
                  <a:cubicBezTo>
                    <a:pt x="5238" y="6675"/>
                    <a:pt x="5239" y="6686"/>
                    <a:pt x="5269" y="6716"/>
                  </a:cubicBezTo>
                  <a:cubicBezTo>
                    <a:pt x="5288" y="6735"/>
                    <a:pt x="5309" y="6752"/>
                    <a:pt x="5328" y="6772"/>
                  </a:cubicBezTo>
                  <a:cubicBezTo>
                    <a:pt x="5343" y="6789"/>
                    <a:pt x="5338" y="6803"/>
                    <a:pt x="5317" y="6809"/>
                  </a:cubicBezTo>
                  <a:cubicBezTo>
                    <a:pt x="5239" y="6834"/>
                    <a:pt x="5172" y="6813"/>
                    <a:pt x="5117" y="6759"/>
                  </a:cubicBezTo>
                  <a:cubicBezTo>
                    <a:pt x="5082" y="6725"/>
                    <a:pt x="5042" y="6693"/>
                    <a:pt x="5023" y="6644"/>
                  </a:cubicBezTo>
                  <a:cubicBezTo>
                    <a:pt x="5018" y="6633"/>
                    <a:pt x="5005" y="6626"/>
                    <a:pt x="4992" y="6626"/>
                  </a:cubicBezTo>
                  <a:cubicBezTo>
                    <a:pt x="4977" y="6627"/>
                    <a:pt x="4972" y="6640"/>
                    <a:pt x="4969" y="6652"/>
                  </a:cubicBezTo>
                  <a:cubicBezTo>
                    <a:pt x="4959" y="6695"/>
                    <a:pt x="4953" y="6738"/>
                    <a:pt x="4960" y="6782"/>
                  </a:cubicBezTo>
                  <a:cubicBezTo>
                    <a:pt x="4965" y="6809"/>
                    <a:pt x="4973" y="6834"/>
                    <a:pt x="4997" y="6852"/>
                  </a:cubicBezTo>
                  <a:cubicBezTo>
                    <a:pt x="5015" y="6865"/>
                    <a:pt x="5029" y="6885"/>
                    <a:pt x="5047" y="6899"/>
                  </a:cubicBezTo>
                  <a:cubicBezTo>
                    <a:pt x="5109" y="6946"/>
                    <a:pt x="5130" y="7011"/>
                    <a:pt x="5133" y="7084"/>
                  </a:cubicBezTo>
                  <a:cubicBezTo>
                    <a:pt x="5135" y="7126"/>
                    <a:pt x="5133" y="7168"/>
                    <a:pt x="5130" y="7209"/>
                  </a:cubicBezTo>
                  <a:cubicBezTo>
                    <a:pt x="5128" y="7236"/>
                    <a:pt x="5109" y="7244"/>
                    <a:pt x="5086" y="7226"/>
                  </a:cubicBezTo>
                  <a:cubicBezTo>
                    <a:pt x="5014" y="7170"/>
                    <a:pt x="4962" y="7099"/>
                    <a:pt x="4937" y="7010"/>
                  </a:cubicBezTo>
                  <a:cubicBezTo>
                    <a:pt x="4930" y="6984"/>
                    <a:pt x="4936" y="6939"/>
                    <a:pt x="4899" y="6942"/>
                  </a:cubicBezTo>
                  <a:cubicBezTo>
                    <a:pt x="4871" y="6945"/>
                    <a:pt x="4882" y="6987"/>
                    <a:pt x="4878" y="7013"/>
                  </a:cubicBezTo>
                  <a:cubicBezTo>
                    <a:pt x="4871" y="7059"/>
                    <a:pt x="4879" y="7104"/>
                    <a:pt x="4880" y="7150"/>
                  </a:cubicBezTo>
                  <a:cubicBezTo>
                    <a:pt x="4880" y="7178"/>
                    <a:pt x="4890" y="7203"/>
                    <a:pt x="4906" y="7225"/>
                  </a:cubicBezTo>
                  <a:cubicBezTo>
                    <a:pt x="4970" y="7315"/>
                    <a:pt x="4946" y="7403"/>
                    <a:pt x="4897" y="7488"/>
                  </a:cubicBezTo>
                  <a:cubicBezTo>
                    <a:pt x="4880" y="7517"/>
                    <a:pt x="4862" y="7544"/>
                    <a:pt x="4856" y="7578"/>
                  </a:cubicBezTo>
                  <a:cubicBezTo>
                    <a:pt x="4853" y="7595"/>
                    <a:pt x="4845" y="7609"/>
                    <a:pt x="4834" y="7622"/>
                  </a:cubicBezTo>
                  <a:cubicBezTo>
                    <a:pt x="4814" y="7645"/>
                    <a:pt x="4798" y="7643"/>
                    <a:pt x="4778" y="7621"/>
                  </a:cubicBezTo>
                  <a:cubicBezTo>
                    <a:pt x="4744" y="7583"/>
                    <a:pt x="4737" y="7535"/>
                    <a:pt x="4730" y="7489"/>
                  </a:cubicBezTo>
                  <a:cubicBezTo>
                    <a:pt x="4724" y="7441"/>
                    <a:pt x="4724" y="7393"/>
                    <a:pt x="4720" y="7346"/>
                  </a:cubicBezTo>
                  <a:cubicBezTo>
                    <a:pt x="4717" y="7304"/>
                    <a:pt x="4732" y="7268"/>
                    <a:pt x="4755" y="7235"/>
                  </a:cubicBezTo>
                  <a:cubicBezTo>
                    <a:pt x="4769" y="7215"/>
                    <a:pt x="4779" y="7194"/>
                    <a:pt x="4778" y="7171"/>
                  </a:cubicBezTo>
                  <a:cubicBezTo>
                    <a:pt x="4775" y="7099"/>
                    <a:pt x="4794" y="7032"/>
                    <a:pt x="4813" y="6964"/>
                  </a:cubicBezTo>
                  <a:cubicBezTo>
                    <a:pt x="4816" y="6950"/>
                    <a:pt x="4824" y="6934"/>
                    <a:pt x="4805" y="6926"/>
                  </a:cubicBezTo>
                  <a:cubicBezTo>
                    <a:pt x="4789" y="6920"/>
                    <a:pt x="4778" y="6930"/>
                    <a:pt x="4770" y="6944"/>
                  </a:cubicBezTo>
                  <a:cubicBezTo>
                    <a:pt x="4757" y="6968"/>
                    <a:pt x="4746" y="6993"/>
                    <a:pt x="4732" y="7016"/>
                  </a:cubicBezTo>
                  <a:cubicBezTo>
                    <a:pt x="4705" y="7060"/>
                    <a:pt x="4669" y="7092"/>
                    <a:pt x="4614" y="7099"/>
                  </a:cubicBezTo>
                  <a:cubicBezTo>
                    <a:pt x="4586" y="7102"/>
                    <a:pt x="4557" y="7107"/>
                    <a:pt x="4528" y="7126"/>
                  </a:cubicBezTo>
                  <a:cubicBezTo>
                    <a:pt x="4507" y="7073"/>
                    <a:pt x="4508" y="7024"/>
                    <a:pt x="4530" y="6979"/>
                  </a:cubicBezTo>
                  <a:cubicBezTo>
                    <a:pt x="4567" y="6899"/>
                    <a:pt x="4624" y="6837"/>
                    <a:pt x="4716" y="6818"/>
                  </a:cubicBezTo>
                  <a:cubicBezTo>
                    <a:pt x="4729" y="6816"/>
                    <a:pt x="4740" y="6812"/>
                    <a:pt x="4753" y="6810"/>
                  </a:cubicBezTo>
                  <a:cubicBezTo>
                    <a:pt x="4809" y="6801"/>
                    <a:pt x="4841" y="6775"/>
                    <a:pt x="4845" y="6713"/>
                  </a:cubicBezTo>
                  <a:cubicBezTo>
                    <a:pt x="4848" y="6666"/>
                    <a:pt x="4868" y="6620"/>
                    <a:pt x="4880" y="6574"/>
                  </a:cubicBezTo>
                  <a:cubicBezTo>
                    <a:pt x="4884" y="6560"/>
                    <a:pt x="4890" y="6547"/>
                    <a:pt x="4894" y="6533"/>
                  </a:cubicBezTo>
                  <a:cubicBezTo>
                    <a:pt x="4897" y="6522"/>
                    <a:pt x="4897" y="6510"/>
                    <a:pt x="4886" y="6505"/>
                  </a:cubicBezTo>
                  <a:cubicBezTo>
                    <a:pt x="4876" y="6500"/>
                    <a:pt x="4866" y="6507"/>
                    <a:pt x="4859" y="6515"/>
                  </a:cubicBezTo>
                  <a:cubicBezTo>
                    <a:pt x="4848" y="6528"/>
                    <a:pt x="4834" y="6540"/>
                    <a:pt x="4829" y="6554"/>
                  </a:cubicBezTo>
                  <a:cubicBezTo>
                    <a:pt x="4800" y="6646"/>
                    <a:pt x="4715" y="6669"/>
                    <a:pt x="4643" y="6707"/>
                  </a:cubicBezTo>
                  <a:cubicBezTo>
                    <a:pt x="4625" y="6717"/>
                    <a:pt x="4610" y="6709"/>
                    <a:pt x="4609" y="6686"/>
                  </a:cubicBezTo>
                  <a:cubicBezTo>
                    <a:pt x="4606" y="6593"/>
                    <a:pt x="4619" y="6507"/>
                    <a:pt x="4691" y="6435"/>
                  </a:cubicBezTo>
                  <a:cubicBezTo>
                    <a:pt x="4751" y="6375"/>
                    <a:pt x="4823" y="6356"/>
                    <a:pt x="4900" y="6358"/>
                  </a:cubicBezTo>
                  <a:cubicBezTo>
                    <a:pt x="4955" y="6360"/>
                    <a:pt x="4977" y="6340"/>
                    <a:pt x="5003" y="6294"/>
                  </a:cubicBezTo>
                  <a:cubicBezTo>
                    <a:pt x="5072" y="6173"/>
                    <a:pt x="5153" y="6060"/>
                    <a:pt x="5253" y="5961"/>
                  </a:cubicBezTo>
                  <a:cubicBezTo>
                    <a:pt x="5326" y="5888"/>
                    <a:pt x="5395" y="5809"/>
                    <a:pt x="5466" y="5733"/>
                  </a:cubicBezTo>
                  <a:cubicBezTo>
                    <a:pt x="5515" y="5681"/>
                    <a:pt x="5572" y="5649"/>
                    <a:pt x="5647" y="5649"/>
                  </a:cubicBezTo>
                  <a:cubicBezTo>
                    <a:pt x="5697" y="5649"/>
                    <a:pt x="5743" y="5631"/>
                    <a:pt x="5782" y="5595"/>
                  </a:cubicBezTo>
                  <a:cubicBezTo>
                    <a:pt x="5824" y="5557"/>
                    <a:pt x="5869" y="5523"/>
                    <a:pt x="5911" y="5485"/>
                  </a:cubicBezTo>
                  <a:cubicBezTo>
                    <a:pt x="5928" y="5469"/>
                    <a:pt x="5955" y="5449"/>
                    <a:pt x="5943" y="5423"/>
                  </a:cubicBezTo>
                  <a:cubicBezTo>
                    <a:pt x="5928" y="5393"/>
                    <a:pt x="5898" y="5414"/>
                    <a:pt x="5876" y="5418"/>
                  </a:cubicBezTo>
                  <a:cubicBezTo>
                    <a:pt x="5832" y="5425"/>
                    <a:pt x="5788" y="5427"/>
                    <a:pt x="5745" y="5420"/>
                  </a:cubicBezTo>
                  <a:cubicBezTo>
                    <a:pt x="5689" y="5411"/>
                    <a:pt x="5651" y="5437"/>
                    <a:pt x="5628" y="5482"/>
                  </a:cubicBezTo>
                  <a:cubicBezTo>
                    <a:pt x="5593" y="5549"/>
                    <a:pt x="5542" y="5599"/>
                    <a:pt x="5481" y="5640"/>
                  </a:cubicBezTo>
                  <a:cubicBezTo>
                    <a:pt x="5447" y="5662"/>
                    <a:pt x="5424" y="5693"/>
                    <a:pt x="5401" y="5726"/>
                  </a:cubicBezTo>
                  <a:cubicBezTo>
                    <a:pt x="5387" y="5745"/>
                    <a:pt x="5375" y="5779"/>
                    <a:pt x="5349" y="5773"/>
                  </a:cubicBezTo>
                  <a:cubicBezTo>
                    <a:pt x="5319" y="5765"/>
                    <a:pt x="5334" y="5730"/>
                    <a:pt x="5333" y="5707"/>
                  </a:cubicBezTo>
                  <a:cubicBezTo>
                    <a:pt x="5327" y="5623"/>
                    <a:pt x="5340" y="5545"/>
                    <a:pt x="5401" y="5481"/>
                  </a:cubicBezTo>
                  <a:cubicBezTo>
                    <a:pt x="5409" y="5473"/>
                    <a:pt x="5412" y="5459"/>
                    <a:pt x="5415" y="5447"/>
                  </a:cubicBezTo>
                  <a:cubicBezTo>
                    <a:pt x="5420" y="5427"/>
                    <a:pt x="5413" y="5413"/>
                    <a:pt x="5390" y="5418"/>
                  </a:cubicBezTo>
                  <a:cubicBezTo>
                    <a:pt x="5353" y="5426"/>
                    <a:pt x="5314" y="5433"/>
                    <a:pt x="5299" y="5475"/>
                  </a:cubicBezTo>
                  <a:cubicBezTo>
                    <a:pt x="5257" y="5598"/>
                    <a:pt x="5149" y="5659"/>
                    <a:pt x="5058" y="5736"/>
                  </a:cubicBezTo>
                  <a:cubicBezTo>
                    <a:pt x="5037" y="5753"/>
                    <a:pt x="5026" y="5748"/>
                    <a:pt x="5018" y="5722"/>
                  </a:cubicBezTo>
                  <a:cubicBezTo>
                    <a:pt x="4999" y="5669"/>
                    <a:pt x="5008" y="5614"/>
                    <a:pt x="5034" y="5571"/>
                  </a:cubicBezTo>
                  <a:cubicBezTo>
                    <a:pt x="5056" y="5532"/>
                    <a:pt x="5042" y="5502"/>
                    <a:pt x="5042" y="5465"/>
                  </a:cubicBezTo>
                  <a:cubicBezTo>
                    <a:pt x="4995" y="5472"/>
                    <a:pt x="4967" y="5501"/>
                    <a:pt x="4950" y="5532"/>
                  </a:cubicBezTo>
                  <a:cubicBezTo>
                    <a:pt x="4915" y="5602"/>
                    <a:pt x="4859" y="5636"/>
                    <a:pt x="4786" y="5652"/>
                  </a:cubicBezTo>
                  <a:cubicBezTo>
                    <a:pt x="4746" y="5661"/>
                    <a:pt x="4708" y="5679"/>
                    <a:pt x="4668" y="5691"/>
                  </a:cubicBezTo>
                  <a:cubicBezTo>
                    <a:pt x="4633" y="5701"/>
                    <a:pt x="4619" y="5688"/>
                    <a:pt x="4629" y="5653"/>
                  </a:cubicBezTo>
                  <a:cubicBezTo>
                    <a:pt x="4643" y="5604"/>
                    <a:pt x="4647" y="5549"/>
                    <a:pt x="4702" y="5522"/>
                  </a:cubicBezTo>
                  <a:cubicBezTo>
                    <a:pt x="4704" y="5521"/>
                    <a:pt x="4706" y="5520"/>
                    <a:pt x="4706" y="5518"/>
                  </a:cubicBezTo>
                  <a:cubicBezTo>
                    <a:pt x="4720" y="5447"/>
                    <a:pt x="4787" y="5436"/>
                    <a:pt x="4834" y="5402"/>
                  </a:cubicBezTo>
                  <a:cubicBezTo>
                    <a:pt x="4858" y="5385"/>
                    <a:pt x="4885" y="5377"/>
                    <a:pt x="4910" y="5383"/>
                  </a:cubicBezTo>
                  <a:cubicBezTo>
                    <a:pt x="4978" y="5401"/>
                    <a:pt x="5041" y="5375"/>
                    <a:pt x="5106" y="5375"/>
                  </a:cubicBezTo>
                  <a:cubicBezTo>
                    <a:pt x="5110" y="5350"/>
                    <a:pt x="5089" y="5350"/>
                    <a:pt x="5082" y="5339"/>
                  </a:cubicBezTo>
                  <a:cubicBezTo>
                    <a:pt x="5076" y="5330"/>
                    <a:pt x="5067" y="5319"/>
                    <a:pt x="5075" y="5311"/>
                  </a:cubicBezTo>
                  <a:cubicBezTo>
                    <a:pt x="5108" y="5280"/>
                    <a:pt x="5082" y="5260"/>
                    <a:pt x="5063" y="5238"/>
                  </a:cubicBezTo>
                  <a:cubicBezTo>
                    <a:pt x="5041" y="5214"/>
                    <a:pt x="5020" y="5189"/>
                    <a:pt x="4989" y="5173"/>
                  </a:cubicBezTo>
                  <a:cubicBezTo>
                    <a:pt x="4964" y="5160"/>
                    <a:pt x="4964" y="5141"/>
                    <a:pt x="4987" y="5124"/>
                  </a:cubicBezTo>
                  <a:cubicBezTo>
                    <a:pt x="5009" y="5107"/>
                    <a:pt x="5031" y="5085"/>
                    <a:pt x="5065" y="5100"/>
                  </a:cubicBezTo>
                  <a:cubicBezTo>
                    <a:pt x="5082" y="5106"/>
                    <a:pt x="5098" y="5098"/>
                    <a:pt x="5110" y="5085"/>
                  </a:cubicBezTo>
                  <a:cubicBezTo>
                    <a:pt x="5134" y="5058"/>
                    <a:pt x="5155" y="5070"/>
                    <a:pt x="5172" y="5091"/>
                  </a:cubicBezTo>
                  <a:cubicBezTo>
                    <a:pt x="5186" y="5108"/>
                    <a:pt x="5202" y="5119"/>
                    <a:pt x="5221" y="5129"/>
                  </a:cubicBezTo>
                  <a:cubicBezTo>
                    <a:pt x="5270" y="5157"/>
                    <a:pt x="5301" y="5200"/>
                    <a:pt x="5317" y="5254"/>
                  </a:cubicBezTo>
                  <a:cubicBezTo>
                    <a:pt x="5318" y="5258"/>
                    <a:pt x="5318" y="5263"/>
                    <a:pt x="5319" y="5267"/>
                  </a:cubicBezTo>
                  <a:cubicBezTo>
                    <a:pt x="5331" y="5314"/>
                    <a:pt x="5347" y="5327"/>
                    <a:pt x="5380" y="5317"/>
                  </a:cubicBezTo>
                  <a:cubicBezTo>
                    <a:pt x="5428" y="5301"/>
                    <a:pt x="5449" y="5268"/>
                    <a:pt x="5434" y="5228"/>
                  </a:cubicBezTo>
                  <a:cubicBezTo>
                    <a:pt x="5429" y="5213"/>
                    <a:pt x="5420" y="5197"/>
                    <a:pt x="5408" y="5186"/>
                  </a:cubicBezTo>
                  <a:cubicBezTo>
                    <a:pt x="5377" y="5158"/>
                    <a:pt x="5359" y="5120"/>
                    <a:pt x="5335" y="5086"/>
                  </a:cubicBezTo>
                  <a:cubicBezTo>
                    <a:pt x="5325" y="5072"/>
                    <a:pt x="5314" y="5058"/>
                    <a:pt x="5330" y="5042"/>
                  </a:cubicBezTo>
                  <a:cubicBezTo>
                    <a:pt x="5345" y="5025"/>
                    <a:pt x="5362" y="5002"/>
                    <a:pt x="5387" y="5014"/>
                  </a:cubicBezTo>
                  <a:cubicBezTo>
                    <a:pt x="5448" y="5042"/>
                    <a:pt x="5517" y="5043"/>
                    <a:pt x="5576" y="5075"/>
                  </a:cubicBezTo>
                  <a:cubicBezTo>
                    <a:pt x="5599" y="5087"/>
                    <a:pt x="5615" y="5104"/>
                    <a:pt x="5622" y="5131"/>
                  </a:cubicBezTo>
                  <a:cubicBezTo>
                    <a:pt x="5632" y="5167"/>
                    <a:pt x="5645" y="5202"/>
                    <a:pt x="5655" y="5238"/>
                  </a:cubicBezTo>
                  <a:cubicBezTo>
                    <a:pt x="5665" y="5271"/>
                    <a:pt x="5685" y="5293"/>
                    <a:pt x="5720" y="5297"/>
                  </a:cubicBezTo>
                  <a:cubicBezTo>
                    <a:pt x="5777" y="5305"/>
                    <a:pt x="5834" y="5306"/>
                    <a:pt x="5893" y="5304"/>
                  </a:cubicBezTo>
                  <a:cubicBezTo>
                    <a:pt x="6041" y="5298"/>
                    <a:pt x="6191" y="5279"/>
                    <a:pt x="6339" y="5320"/>
                  </a:cubicBezTo>
                  <a:cubicBezTo>
                    <a:pt x="6408" y="5340"/>
                    <a:pt x="6477" y="5337"/>
                    <a:pt x="6545" y="5301"/>
                  </a:cubicBezTo>
                  <a:cubicBezTo>
                    <a:pt x="6659" y="5240"/>
                    <a:pt x="6785" y="5212"/>
                    <a:pt x="6910" y="5183"/>
                  </a:cubicBezTo>
                  <a:cubicBezTo>
                    <a:pt x="6951" y="5173"/>
                    <a:pt x="6980" y="5161"/>
                    <a:pt x="6982" y="5113"/>
                  </a:cubicBezTo>
                  <a:cubicBezTo>
                    <a:pt x="6984" y="5080"/>
                    <a:pt x="7008" y="5052"/>
                    <a:pt x="7020" y="5022"/>
                  </a:cubicBezTo>
                  <a:cubicBezTo>
                    <a:pt x="7028" y="5003"/>
                    <a:pt x="7043" y="4977"/>
                    <a:pt x="7023" y="4965"/>
                  </a:cubicBezTo>
                  <a:cubicBezTo>
                    <a:pt x="7001" y="4951"/>
                    <a:pt x="6985" y="4977"/>
                    <a:pt x="6973" y="4992"/>
                  </a:cubicBezTo>
                  <a:cubicBezTo>
                    <a:pt x="6942" y="5030"/>
                    <a:pt x="6906" y="5060"/>
                    <a:pt x="6859" y="5076"/>
                  </a:cubicBezTo>
                  <a:cubicBezTo>
                    <a:pt x="6816" y="5090"/>
                    <a:pt x="6780" y="5112"/>
                    <a:pt x="6756" y="5151"/>
                  </a:cubicBezTo>
                  <a:cubicBezTo>
                    <a:pt x="6750" y="5159"/>
                    <a:pt x="6742" y="5167"/>
                    <a:pt x="6725" y="5166"/>
                  </a:cubicBezTo>
                  <a:cubicBezTo>
                    <a:pt x="6704" y="5108"/>
                    <a:pt x="6717" y="5050"/>
                    <a:pt x="6741" y="4996"/>
                  </a:cubicBezTo>
                  <a:cubicBezTo>
                    <a:pt x="6757" y="4959"/>
                    <a:pt x="6778" y="4922"/>
                    <a:pt x="6808" y="4892"/>
                  </a:cubicBezTo>
                  <a:cubicBezTo>
                    <a:pt x="6860" y="4839"/>
                    <a:pt x="6923" y="4816"/>
                    <a:pt x="6995" y="4830"/>
                  </a:cubicBezTo>
                  <a:cubicBezTo>
                    <a:pt x="7042" y="4839"/>
                    <a:pt x="7078" y="4833"/>
                    <a:pt x="7115" y="4799"/>
                  </a:cubicBezTo>
                  <a:cubicBezTo>
                    <a:pt x="7140" y="4776"/>
                    <a:pt x="7174" y="4762"/>
                    <a:pt x="7208" y="4752"/>
                  </a:cubicBezTo>
                  <a:cubicBezTo>
                    <a:pt x="7220" y="4748"/>
                    <a:pt x="7233" y="4745"/>
                    <a:pt x="7243" y="4740"/>
                  </a:cubicBezTo>
                  <a:cubicBezTo>
                    <a:pt x="7255" y="4734"/>
                    <a:pt x="7262" y="4723"/>
                    <a:pt x="7257" y="4709"/>
                  </a:cubicBezTo>
                  <a:cubicBezTo>
                    <a:pt x="7252" y="4697"/>
                    <a:pt x="7242" y="4695"/>
                    <a:pt x="7231" y="4696"/>
                  </a:cubicBezTo>
                  <a:cubicBezTo>
                    <a:pt x="7204" y="4698"/>
                    <a:pt x="7178" y="4705"/>
                    <a:pt x="7152" y="4714"/>
                  </a:cubicBezTo>
                  <a:cubicBezTo>
                    <a:pt x="7106" y="4731"/>
                    <a:pt x="7058" y="4732"/>
                    <a:pt x="7012" y="4714"/>
                  </a:cubicBezTo>
                  <a:cubicBezTo>
                    <a:pt x="6975" y="4700"/>
                    <a:pt x="6975" y="4688"/>
                    <a:pt x="7002" y="4657"/>
                  </a:cubicBezTo>
                  <a:cubicBezTo>
                    <a:pt x="7057" y="4596"/>
                    <a:pt x="7119" y="4546"/>
                    <a:pt x="7199" y="4521"/>
                  </a:cubicBezTo>
                  <a:cubicBezTo>
                    <a:pt x="7295" y="4490"/>
                    <a:pt x="7396" y="4543"/>
                    <a:pt x="7413" y="4641"/>
                  </a:cubicBezTo>
                  <a:cubicBezTo>
                    <a:pt x="7421" y="4686"/>
                    <a:pt x="7437" y="4708"/>
                    <a:pt x="7485" y="4717"/>
                  </a:cubicBezTo>
                  <a:cubicBezTo>
                    <a:pt x="7559" y="4731"/>
                    <a:pt x="7625" y="4767"/>
                    <a:pt x="7684" y="4815"/>
                  </a:cubicBezTo>
                  <a:cubicBezTo>
                    <a:pt x="7789" y="4902"/>
                    <a:pt x="7764" y="4908"/>
                    <a:pt x="7893" y="4833"/>
                  </a:cubicBezTo>
                  <a:cubicBezTo>
                    <a:pt x="7946" y="4803"/>
                    <a:pt x="8001" y="4782"/>
                    <a:pt x="8055" y="4758"/>
                  </a:cubicBezTo>
                  <a:cubicBezTo>
                    <a:pt x="8100" y="4739"/>
                    <a:pt x="8150" y="4749"/>
                    <a:pt x="8197" y="4754"/>
                  </a:cubicBezTo>
                  <a:cubicBezTo>
                    <a:pt x="8218" y="4756"/>
                    <a:pt x="8239" y="4762"/>
                    <a:pt x="8259" y="4762"/>
                  </a:cubicBezTo>
                  <a:cubicBezTo>
                    <a:pt x="8300" y="4763"/>
                    <a:pt x="8312" y="4745"/>
                    <a:pt x="8296" y="4708"/>
                  </a:cubicBezTo>
                  <a:cubicBezTo>
                    <a:pt x="8281" y="4672"/>
                    <a:pt x="8258" y="4643"/>
                    <a:pt x="8234" y="4614"/>
                  </a:cubicBezTo>
                  <a:cubicBezTo>
                    <a:pt x="8192" y="4566"/>
                    <a:pt x="8154" y="4514"/>
                    <a:pt x="8096" y="4482"/>
                  </a:cubicBezTo>
                  <a:cubicBezTo>
                    <a:pt x="8063" y="4464"/>
                    <a:pt x="8040" y="4435"/>
                    <a:pt x="8022" y="4399"/>
                  </a:cubicBezTo>
                  <a:cubicBezTo>
                    <a:pt x="7998" y="4349"/>
                    <a:pt x="7977" y="4297"/>
                    <a:pt x="7942" y="4252"/>
                  </a:cubicBezTo>
                  <a:cubicBezTo>
                    <a:pt x="7860" y="4148"/>
                    <a:pt x="7758" y="4080"/>
                    <a:pt x="7627" y="4056"/>
                  </a:cubicBezTo>
                  <a:cubicBezTo>
                    <a:pt x="7600" y="4052"/>
                    <a:pt x="7574" y="4043"/>
                    <a:pt x="7549" y="4035"/>
                  </a:cubicBezTo>
                  <a:cubicBezTo>
                    <a:pt x="7474" y="4012"/>
                    <a:pt x="7382" y="4042"/>
                    <a:pt x="7339" y="4105"/>
                  </a:cubicBezTo>
                  <a:cubicBezTo>
                    <a:pt x="7331" y="4116"/>
                    <a:pt x="7330" y="4128"/>
                    <a:pt x="7330" y="4140"/>
                  </a:cubicBezTo>
                  <a:cubicBezTo>
                    <a:pt x="7329" y="4198"/>
                    <a:pt x="7311" y="4250"/>
                    <a:pt x="7281" y="4299"/>
                  </a:cubicBezTo>
                  <a:cubicBezTo>
                    <a:pt x="7255" y="4342"/>
                    <a:pt x="7225" y="4382"/>
                    <a:pt x="7202" y="4426"/>
                  </a:cubicBezTo>
                  <a:cubicBezTo>
                    <a:pt x="7187" y="4456"/>
                    <a:pt x="7165" y="4453"/>
                    <a:pt x="7154" y="4421"/>
                  </a:cubicBezTo>
                  <a:cubicBezTo>
                    <a:pt x="7135" y="4362"/>
                    <a:pt x="7123" y="4300"/>
                    <a:pt x="7123" y="4237"/>
                  </a:cubicBezTo>
                  <a:cubicBezTo>
                    <a:pt x="7123" y="4205"/>
                    <a:pt x="7143" y="4179"/>
                    <a:pt x="7167" y="4158"/>
                  </a:cubicBezTo>
                  <a:cubicBezTo>
                    <a:pt x="7177" y="4149"/>
                    <a:pt x="7185" y="4138"/>
                    <a:pt x="7176" y="4125"/>
                  </a:cubicBezTo>
                  <a:cubicBezTo>
                    <a:pt x="7168" y="4113"/>
                    <a:pt x="7154" y="4114"/>
                    <a:pt x="7142" y="4119"/>
                  </a:cubicBezTo>
                  <a:cubicBezTo>
                    <a:pt x="7052" y="4160"/>
                    <a:pt x="6979" y="4219"/>
                    <a:pt x="6939" y="4311"/>
                  </a:cubicBezTo>
                  <a:cubicBezTo>
                    <a:pt x="6932" y="4325"/>
                    <a:pt x="6935" y="4339"/>
                    <a:pt x="6936" y="4354"/>
                  </a:cubicBezTo>
                  <a:cubicBezTo>
                    <a:pt x="6938" y="4400"/>
                    <a:pt x="6938" y="4445"/>
                    <a:pt x="6940" y="4491"/>
                  </a:cubicBezTo>
                  <a:cubicBezTo>
                    <a:pt x="6943" y="4539"/>
                    <a:pt x="6926" y="4581"/>
                    <a:pt x="6907" y="4623"/>
                  </a:cubicBezTo>
                  <a:cubicBezTo>
                    <a:pt x="6897" y="4646"/>
                    <a:pt x="6883" y="4666"/>
                    <a:pt x="6878" y="4691"/>
                  </a:cubicBezTo>
                  <a:cubicBezTo>
                    <a:pt x="6874" y="4713"/>
                    <a:pt x="6852" y="4716"/>
                    <a:pt x="6842" y="4697"/>
                  </a:cubicBezTo>
                  <a:cubicBezTo>
                    <a:pt x="6802" y="4618"/>
                    <a:pt x="6754" y="4539"/>
                    <a:pt x="6797" y="4445"/>
                  </a:cubicBezTo>
                  <a:cubicBezTo>
                    <a:pt x="6800" y="4439"/>
                    <a:pt x="6803" y="4434"/>
                    <a:pt x="6805" y="4428"/>
                  </a:cubicBezTo>
                  <a:cubicBezTo>
                    <a:pt x="6807" y="4420"/>
                    <a:pt x="6806" y="4411"/>
                    <a:pt x="6798" y="4405"/>
                  </a:cubicBezTo>
                  <a:cubicBezTo>
                    <a:pt x="6791" y="4399"/>
                    <a:pt x="6783" y="4400"/>
                    <a:pt x="6776" y="4406"/>
                  </a:cubicBezTo>
                  <a:cubicBezTo>
                    <a:pt x="6738" y="4443"/>
                    <a:pt x="6702" y="4480"/>
                    <a:pt x="6709" y="4540"/>
                  </a:cubicBezTo>
                  <a:cubicBezTo>
                    <a:pt x="6714" y="4585"/>
                    <a:pt x="6715" y="4631"/>
                    <a:pt x="6720" y="4677"/>
                  </a:cubicBezTo>
                  <a:cubicBezTo>
                    <a:pt x="6724" y="4718"/>
                    <a:pt x="6710" y="4750"/>
                    <a:pt x="6676" y="4773"/>
                  </a:cubicBezTo>
                  <a:cubicBezTo>
                    <a:pt x="6643" y="4796"/>
                    <a:pt x="6613" y="4821"/>
                    <a:pt x="6595" y="4858"/>
                  </a:cubicBezTo>
                  <a:cubicBezTo>
                    <a:pt x="6590" y="4868"/>
                    <a:pt x="6581" y="4873"/>
                    <a:pt x="6569" y="4872"/>
                  </a:cubicBezTo>
                  <a:cubicBezTo>
                    <a:pt x="6555" y="4869"/>
                    <a:pt x="6556" y="4857"/>
                    <a:pt x="6556" y="4847"/>
                  </a:cubicBezTo>
                  <a:cubicBezTo>
                    <a:pt x="6556" y="4791"/>
                    <a:pt x="6536" y="4738"/>
                    <a:pt x="6527" y="4683"/>
                  </a:cubicBezTo>
                  <a:cubicBezTo>
                    <a:pt x="6511" y="4587"/>
                    <a:pt x="6511" y="4550"/>
                    <a:pt x="6592" y="4493"/>
                  </a:cubicBezTo>
                  <a:cubicBezTo>
                    <a:pt x="6655" y="4448"/>
                    <a:pt x="6710" y="4395"/>
                    <a:pt x="6757" y="4333"/>
                  </a:cubicBezTo>
                  <a:cubicBezTo>
                    <a:pt x="6764" y="4322"/>
                    <a:pt x="6773" y="4312"/>
                    <a:pt x="6766" y="4299"/>
                  </a:cubicBezTo>
                  <a:cubicBezTo>
                    <a:pt x="6756" y="4283"/>
                    <a:pt x="6739" y="4286"/>
                    <a:pt x="6727" y="4295"/>
                  </a:cubicBezTo>
                  <a:cubicBezTo>
                    <a:pt x="6700" y="4314"/>
                    <a:pt x="6668" y="4324"/>
                    <a:pt x="6638" y="4339"/>
                  </a:cubicBezTo>
                  <a:cubicBezTo>
                    <a:pt x="6581" y="4368"/>
                    <a:pt x="6518" y="4372"/>
                    <a:pt x="6457" y="4382"/>
                  </a:cubicBezTo>
                  <a:cubicBezTo>
                    <a:pt x="6426" y="4387"/>
                    <a:pt x="6413" y="4369"/>
                    <a:pt x="6429" y="4341"/>
                  </a:cubicBezTo>
                  <a:cubicBezTo>
                    <a:pt x="6468" y="4275"/>
                    <a:pt x="6504" y="4206"/>
                    <a:pt x="6584" y="4178"/>
                  </a:cubicBezTo>
                  <a:cubicBezTo>
                    <a:pt x="6623" y="4164"/>
                    <a:pt x="6661" y="4147"/>
                    <a:pt x="6702" y="4141"/>
                  </a:cubicBezTo>
                  <a:cubicBezTo>
                    <a:pt x="6744" y="4134"/>
                    <a:pt x="6785" y="4131"/>
                    <a:pt x="6822" y="4159"/>
                  </a:cubicBezTo>
                  <a:cubicBezTo>
                    <a:pt x="6850" y="4179"/>
                    <a:pt x="6875" y="4173"/>
                    <a:pt x="6900" y="4149"/>
                  </a:cubicBezTo>
                  <a:cubicBezTo>
                    <a:pt x="6953" y="4096"/>
                    <a:pt x="7018" y="4059"/>
                    <a:pt x="7085" y="4026"/>
                  </a:cubicBezTo>
                  <a:cubicBezTo>
                    <a:pt x="7092" y="4022"/>
                    <a:pt x="7100" y="4018"/>
                    <a:pt x="7106" y="4013"/>
                  </a:cubicBezTo>
                  <a:cubicBezTo>
                    <a:pt x="7121" y="4001"/>
                    <a:pt x="7121" y="3985"/>
                    <a:pt x="7104" y="3979"/>
                  </a:cubicBezTo>
                  <a:cubicBezTo>
                    <a:pt x="7029" y="3951"/>
                    <a:pt x="6953" y="3929"/>
                    <a:pt x="6875" y="3971"/>
                  </a:cubicBezTo>
                  <a:cubicBezTo>
                    <a:pt x="6856" y="3981"/>
                    <a:pt x="6838" y="3998"/>
                    <a:pt x="6809" y="3997"/>
                  </a:cubicBezTo>
                  <a:cubicBezTo>
                    <a:pt x="6810" y="3948"/>
                    <a:pt x="6847" y="3923"/>
                    <a:pt x="6868" y="3889"/>
                  </a:cubicBezTo>
                  <a:cubicBezTo>
                    <a:pt x="6907" y="3824"/>
                    <a:pt x="6972" y="3792"/>
                    <a:pt x="7045" y="3790"/>
                  </a:cubicBezTo>
                  <a:cubicBezTo>
                    <a:pt x="7109" y="3788"/>
                    <a:pt x="7166" y="3816"/>
                    <a:pt x="7209" y="3866"/>
                  </a:cubicBezTo>
                  <a:cubicBezTo>
                    <a:pt x="7228" y="3888"/>
                    <a:pt x="7245" y="3912"/>
                    <a:pt x="7262" y="3936"/>
                  </a:cubicBezTo>
                  <a:cubicBezTo>
                    <a:pt x="7276" y="3955"/>
                    <a:pt x="7294" y="3961"/>
                    <a:pt x="7316" y="3951"/>
                  </a:cubicBezTo>
                  <a:cubicBezTo>
                    <a:pt x="7372" y="3923"/>
                    <a:pt x="7429" y="3896"/>
                    <a:pt x="7494" y="3900"/>
                  </a:cubicBezTo>
                  <a:cubicBezTo>
                    <a:pt x="7504" y="3900"/>
                    <a:pt x="7515" y="3894"/>
                    <a:pt x="7517" y="3883"/>
                  </a:cubicBezTo>
                  <a:cubicBezTo>
                    <a:pt x="7519" y="3871"/>
                    <a:pt x="7508" y="3866"/>
                    <a:pt x="7500" y="3860"/>
                  </a:cubicBezTo>
                  <a:cubicBezTo>
                    <a:pt x="7469" y="3839"/>
                    <a:pt x="7434" y="3834"/>
                    <a:pt x="7399" y="3831"/>
                  </a:cubicBezTo>
                  <a:cubicBezTo>
                    <a:pt x="7340" y="3827"/>
                    <a:pt x="7284" y="3814"/>
                    <a:pt x="7228" y="3797"/>
                  </a:cubicBezTo>
                  <a:cubicBezTo>
                    <a:pt x="7192" y="3785"/>
                    <a:pt x="7158" y="3770"/>
                    <a:pt x="7131" y="3742"/>
                  </a:cubicBezTo>
                  <a:cubicBezTo>
                    <a:pt x="7082" y="3690"/>
                    <a:pt x="7014" y="3672"/>
                    <a:pt x="6952" y="3643"/>
                  </a:cubicBezTo>
                  <a:cubicBezTo>
                    <a:pt x="6939" y="3638"/>
                    <a:pt x="6924" y="3637"/>
                    <a:pt x="6909" y="3637"/>
                  </a:cubicBezTo>
                  <a:cubicBezTo>
                    <a:pt x="6859" y="3638"/>
                    <a:pt x="6810" y="3634"/>
                    <a:pt x="6761" y="3619"/>
                  </a:cubicBezTo>
                  <a:cubicBezTo>
                    <a:pt x="6721" y="3607"/>
                    <a:pt x="6688" y="3615"/>
                    <a:pt x="6667" y="3656"/>
                  </a:cubicBezTo>
                  <a:cubicBezTo>
                    <a:pt x="6659" y="3673"/>
                    <a:pt x="6643" y="3685"/>
                    <a:pt x="6635" y="3702"/>
                  </a:cubicBezTo>
                  <a:cubicBezTo>
                    <a:pt x="6613" y="3746"/>
                    <a:pt x="6577" y="3771"/>
                    <a:pt x="6532" y="3787"/>
                  </a:cubicBezTo>
                  <a:cubicBezTo>
                    <a:pt x="6508" y="3795"/>
                    <a:pt x="6486" y="3805"/>
                    <a:pt x="6462" y="3813"/>
                  </a:cubicBezTo>
                  <a:cubicBezTo>
                    <a:pt x="6423" y="3827"/>
                    <a:pt x="6410" y="3817"/>
                    <a:pt x="6420" y="3779"/>
                  </a:cubicBezTo>
                  <a:cubicBezTo>
                    <a:pt x="6437" y="3721"/>
                    <a:pt x="6460" y="3665"/>
                    <a:pt x="6523" y="3639"/>
                  </a:cubicBezTo>
                  <a:cubicBezTo>
                    <a:pt x="6527" y="3638"/>
                    <a:pt x="6531" y="3636"/>
                    <a:pt x="6534" y="3633"/>
                  </a:cubicBezTo>
                  <a:cubicBezTo>
                    <a:pt x="6544" y="3624"/>
                    <a:pt x="6549" y="3613"/>
                    <a:pt x="6542" y="3600"/>
                  </a:cubicBezTo>
                  <a:cubicBezTo>
                    <a:pt x="6536" y="3589"/>
                    <a:pt x="6525" y="3591"/>
                    <a:pt x="6515" y="3594"/>
                  </a:cubicBezTo>
                  <a:cubicBezTo>
                    <a:pt x="6475" y="3605"/>
                    <a:pt x="6444" y="3628"/>
                    <a:pt x="6423" y="3664"/>
                  </a:cubicBezTo>
                  <a:cubicBezTo>
                    <a:pt x="6402" y="3697"/>
                    <a:pt x="6384" y="3733"/>
                    <a:pt x="6374" y="3771"/>
                  </a:cubicBezTo>
                  <a:cubicBezTo>
                    <a:pt x="6363" y="3817"/>
                    <a:pt x="6335" y="3854"/>
                    <a:pt x="6314" y="3894"/>
                  </a:cubicBezTo>
                  <a:cubicBezTo>
                    <a:pt x="6309" y="3903"/>
                    <a:pt x="6302" y="3911"/>
                    <a:pt x="6294" y="3917"/>
                  </a:cubicBezTo>
                  <a:cubicBezTo>
                    <a:pt x="6259" y="3945"/>
                    <a:pt x="6236" y="3937"/>
                    <a:pt x="6228" y="3894"/>
                  </a:cubicBezTo>
                  <a:cubicBezTo>
                    <a:pt x="6220" y="3851"/>
                    <a:pt x="6225" y="3807"/>
                    <a:pt x="6245" y="3767"/>
                  </a:cubicBezTo>
                  <a:cubicBezTo>
                    <a:pt x="6250" y="3755"/>
                    <a:pt x="6257" y="3745"/>
                    <a:pt x="6262" y="3734"/>
                  </a:cubicBezTo>
                  <a:cubicBezTo>
                    <a:pt x="6266" y="3726"/>
                    <a:pt x="6264" y="3717"/>
                    <a:pt x="6255" y="3714"/>
                  </a:cubicBezTo>
                  <a:cubicBezTo>
                    <a:pt x="6250" y="3712"/>
                    <a:pt x="6241" y="3713"/>
                    <a:pt x="6238" y="3716"/>
                  </a:cubicBezTo>
                  <a:cubicBezTo>
                    <a:pt x="6206" y="3748"/>
                    <a:pt x="6168" y="3777"/>
                    <a:pt x="6166" y="3828"/>
                  </a:cubicBezTo>
                  <a:cubicBezTo>
                    <a:pt x="6164" y="3888"/>
                    <a:pt x="6132" y="3929"/>
                    <a:pt x="6089" y="3965"/>
                  </a:cubicBezTo>
                  <a:cubicBezTo>
                    <a:pt x="6066" y="3984"/>
                    <a:pt x="6042" y="4000"/>
                    <a:pt x="6025" y="4024"/>
                  </a:cubicBezTo>
                  <a:cubicBezTo>
                    <a:pt x="6011" y="4044"/>
                    <a:pt x="5996" y="4037"/>
                    <a:pt x="5984" y="4022"/>
                  </a:cubicBezTo>
                  <a:cubicBezTo>
                    <a:pt x="5975" y="4011"/>
                    <a:pt x="5969" y="3997"/>
                    <a:pt x="5964" y="3984"/>
                  </a:cubicBezTo>
                  <a:cubicBezTo>
                    <a:pt x="5932" y="3898"/>
                    <a:pt x="5966" y="3786"/>
                    <a:pt x="6042" y="3734"/>
                  </a:cubicBezTo>
                  <a:cubicBezTo>
                    <a:pt x="6078" y="3710"/>
                    <a:pt x="6117" y="3691"/>
                    <a:pt x="6155" y="3670"/>
                  </a:cubicBezTo>
                  <a:cubicBezTo>
                    <a:pt x="6162" y="3666"/>
                    <a:pt x="6171" y="3663"/>
                    <a:pt x="6177" y="3658"/>
                  </a:cubicBezTo>
                  <a:cubicBezTo>
                    <a:pt x="6192" y="3645"/>
                    <a:pt x="6222" y="3640"/>
                    <a:pt x="6216" y="3615"/>
                  </a:cubicBezTo>
                  <a:cubicBezTo>
                    <a:pt x="6209" y="3588"/>
                    <a:pt x="6181" y="3600"/>
                    <a:pt x="6162" y="3598"/>
                  </a:cubicBezTo>
                  <a:cubicBezTo>
                    <a:pt x="6107" y="3592"/>
                    <a:pt x="6057" y="3572"/>
                    <a:pt x="6009" y="3548"/>
                  </a:cubicBezTo>
                  <a:cubicBezTo>
                    <a:pt x="5982" y="3534"/>
                    <a:pt x="5983" y="3507"/>
                    <a:pt x="6012" y="3497"/>
                  </a:cubicBezTo>
                  <a:cubicBezTo>
                    <a:pt x="6113" y="3465"/>
                    <a:pt x="6215" y="3430"/>
                    <a:pt x="6318" y="3490"/>
                  </a:cubicBezTo>
                  <a:cubicBezTo>
                    <a:pt x="6336" y="3501"/>
                    <a:pt x="6358" y="3505"/>
                    <a:pt x="6378" y="3503"/>
                  </a:cubicBezTo>
                  <a:cubicBezTo>
                    <a:pt x="6426" y="3498"/>
                    <a:pt x="6474" y="3495"/>
                    <a:pt x="6522" y="3497"/>
                  </a:cubicBezTo>
                  <a:cubicBezTo>
                    <a:pt x="6535" y="3498"/>
                    <a:pt x="6548" y="3495"/>
                    <a:pt x="6553" y="3482"/>
                  </a:cubicBezTo>
                  <a:cubicBezTo>
                    <a:pt x="6558" y="3467"/>
                    <a:pt x="6546" y="3458"/>
                    <a:pt x="6536" y="3451"/>
                  </a:cubicBezTo>
                  <a:cubicBezTo>
                    <a:pt x="6511" y="3433"/>
                    <a:pt x="6484" y="3418"/>
                    <a:pt x="6459" y="3399"/>
                  </a:cubicBezTo>
                  <a:cubicBezTo>
                    <a:pt x="6434" y="3379"/>
                    <a:pt x="6400" y="3367"/>
                    <a:pt x="6388" y="3329"/>
                  </a:cubicBezTo>
                  <a:cubicBezTo>
                    <a:pt x="6460" y="3310"/>
                    <a:pt x="6532" y="3310"/>
                    <a:pt x="6599" y="3326"/>
                  </a:cubicBezTo>
                  <a:cubicBezTo>
                    <a:pt x="6648" y="3338"/>
                    <a:pt x="6692" y="3377"/>
                    <a:pt x="6711" y="3428"/>
                  </a:cubicBezTo>
                  <a:cubicBezTo>
                    <a:pt x="6727" y="3469"/>
                    <a:pt x="6753" y="3490"/>
                    <a:pt x="6795" y="3501"/>
                  </a:cubicBezTo>
                  <a:cubicBezTo>
                    <a:pt x="6850" y="3515"/>
                    <a:pt x="6904" y="3530"/>
                    <a:pt x="6961" y="3526"/>
                  </a:cubicBezTo>
                  <a:cubicBezTo>
                    <a:pt x="7008" y="3523"/>
                    <a:pt x="7015" y="3514"/>
                    <a:pt x="6991" y="3476"/>
                  </a:cubicBezTo>
                  <a:cubicBezTo>
                    <a:pt x="6974" y="3450"/>
                    <a:pt x="6964" y="3420"/>
                    <a:pt x="6947" y="3394"/>
                  </a:cubicBezTo>
                  <a:cubicBezTo>
                    <a:pt x="6897" y="3319"/>
                    <a:pt x="6830" y="3288"/>
                    <a:pt x="6741" y="3295"/>
                  </a:cubicBezTo>
                  <a:cubicBezTo>
                    <a:pt x="6687" y="3300"/>
                    <a:pt x="6633" y="3298"/>
                    <a:pt x="6579" y="3298"/>
                  </a:cubicBezTo>
                  <a:cubicBezTo>
                    <a:pt x="6564" y="3298"/>
                    <a:pt x="6549" y="3297"/>
                    <a:pt x="6535" y="3294"/>
                  </a:cubicBezTo>
                  <a:cubicBezTo>
                    <a:pt x="6490" y="3281"/>
                    <a:pt x="6487" y="3261"/>
                    <a:pt x="6518" y="3227"/>
                  </a:cubicBezTo>
                  <a:cubicBezTo>
                    <a:pt x="6578" y="3164"/>
                    <a:pt x="6647" y="3148"/>
                    <a:pt x="6728" y="3178"/>
                  </a:cubicBezTo>
                  <a:cubicBezTo>
                    <a:pt x="6749" y="3186"/>
                    <a:pt x="6770" y="3192"/>
                    <a:pt x="6793" y="3200"/>
                  </a:cubicBezTo>
                  <a:cubicBezTo>
                    <a:pt x="6775" y="3099"/>
                    <a:pt x="6668" y="3028"/>
                    <a:pt x="6577" y="3060"/>
                  </a:cubicBezTo>
                  <a:cubicBezTo>
                    <a:pt x="6505" y="3085"/>
                    <a:pt x="6432" y="3096"/>
                    <a:pt x="6357" y="3087"/>
                  </a:cubicBezTo>
                  <a:cubicBezTo>
                    <a:pt x="6330" y="3084"/>
                    <a:pt x="6295" y="3084"/>
                    <a:pt x="6287" y="3056"/>
                  </a:cubicBezTo>
                  <a:cubicBezTo>
                    <a:pt x="6280" y="3030"/>
                    <a:pt x="6312" y="3015"/>
                    <a:pt x="6330" y="3000"/>
                  </a:cubicBezTo>
                  <a:cubicBezTo>
                    <a:pt x="6377" y="2962"/>
                    <a:pt x="6428" y="2928"/>
                    <a:pt x="6494" y="2949"/>
                  </a:cubicBezTo>
                  <a:cubicBezTo>
                    <a:pt x="6502" y="2951"/>
                    <a:pt x="6511" y="2948"/>
                    <a:pt x="6516" y="2935"/>
                  </a:cubicBezTo>
                  <a:cubicBezTo>
                    <a:pt x="6464" y="2885"/>
                    <a:pt x="6400" y="2884"/>
                    <a:pt x="6339" y="2906"/>
                  </a:cubicBezTo>
                  <a:cubicBezTo>
                    <a:pt x="6278" y="2927"/>
                    <a:pt x="6215" y="2921"/>
                    <a:pt x="6155" y="2936"/>
                  </a:cubicBezTo>
                  <a:cubicBezTo>
                    <a:pt x="6145" y="2939"/>
                    <a:pt x="6133" y="2938"/>
                    <a:pt x="6127" y="2928"/>
                  </a:cubicBezTo>
                  <a:cubicBezTo>
                    <a:pt x="6121" y="2918"/>
                    <a:pt x="6126" y="2908"/>
                    <a:pt x="6132" y="2899"/>
                  </a:cubicBezTo>
                  <a:cubicBezTo>
                    <a:pt x="6157" y="2868"/>
                    <a:pt x="6180" y="2836"/>
                    <a:pt x="6206" y="2806"/>
                  </a:cubicBezTo>
                  <a:cubicBezTo>
                    <a:pt x="6269" y="2733"/>
                    <a:pt x="6343" y="2726"/>
                    <a:pt x="6411" y="2794"/>
                  </a:cubicBezTo>
                  <a:cubicBezTo>
                    <a:pt x="6440" y="2823"/>
                    <a:pt x="6468" y="2837"/>
                    <a:pt x="6508" y="2837"/>
                  </a:cubicBezTo>
                  <a:cubicBezTo>
                    <a:pt x="6549" y="2838"/>
                    <a:pt x="6579" y="2870"/>
                    <a:pt x="6616" y="2882"/>
                  </a:cubicBezTo>
                  <a:cubicBezTo>
                    <a:pt x="6623" y="2885"/>
                    <a:pt x="6629" y="2893"/>
                    <a:pt x="6637" y="2896"/>
                  </a:cubicBezTo>
                  <a:cubicBezTo>
                    <a:pt x="6648" y="2900"/>
                    <a:pt x="6661" y="2904"/>
                    <a:pt x="6670" y="2892"/>
                  </a:cubicBezTo>
                  <a:cubicBezTo>
                    <a:pt x="6678" y="2882"/>
                    <a:pt x="6673" y="2872"/>
                    <a:pt x="6668" y="2863"/>
                  </a:cubicBezTo>
                  <a:cubicBezTo>
                    <a:pt x="6651" y="2834"/>
                    <a:pt x="6633" y="2806"/>
                    <a:pt x="6616" y="2778"/>
                  </a:cubicBezTo>
                  <a:cubicBezTo>
                    <a:pt x="6583" y="2723"/>
                    <a:pt x="6596" y="2669"/>
                    <a:pt x="6620" y="2617"/>
                  </a:cubicBezTo>
                  <a:cubicBezTo>
                    <a:pt x="6628" y="2598"/>
                    <a:pt x="6644" y="2596"/>
                    <a:pt x="6660" y="2611"/>
                  </a:cubicBezTo>
                  <a:cubicBezTo>
                    <a:pt x="6707" y="2652"/>
                    <a:pt x="6754" y="2695"/>
                    <a:pt x="6785" y="2750"/>
                  </a:cubicBezTo>
                  <a:cubicBezTo>
                    <a:pt x="6819" y="2809"/>
                    <a:pt x="6814" y="2874"/>
                    <a:pt x="6786" y="2936"/>
                  </a:cubicBezTo>
                  <a:cubicBezTo>
                    <a:pt x="6757" y="2999"/>
                    <a:pt x="6757" y="2999"/>
                    <a:pt x="6811" y="3044"/>
                  </a:cubicBezTo>
                  <a:cubicBezTo>
                    <a:pt x="6836" y="3066"/>
                    <a:pt x="6859" y="3090"/>
                    <a:pt x="6879" y="3117"/>
                  </a:cubicBezTo>
                  <a:cubicBezTo>
                    <a:pt x="6887" y="3129"/>
                    <a:pt x="6896" y="3142"/>
                    <a:pt x="6913" y="3139"/>
                  </a:cubicBezTo>
                  <a:cubicBezTo>
                    <a:pt x="6934" y="3136"/>
                    <a:pt x="6940" y="3118"/>
                    <a:pt x="6940" y="3101"/>
                  </a:cubicBezTo>
                  <a:cubicBezTo>
                    <a:pt x="6939" y="3041"/>
                    <a:pt x="6971" y="2995"/>
                    <a:pt x="7008" y="2952"/>
                  </a:cubicBezTo>
                  <a:cubicBezTo>
                    <a:pt x="7044" y="2908"/>
                    <a:pt x="7065" y="2910"/>
                    <a:pt x="7088" y="2963"/>
                  </a:cubicBezTo>
                  <a:cubicBezTo>
                    <a:pt x="7122" y="3037"/>
                    <a:pt x="7137" y="3113"/>
                    <a:pt x="7085" y="3187"/>
                  </a:cubicBezTo>
                  <a:cubicBezTo>
                    <a:pt x="7071" y="3208"/>
                    <a:pt x="7056" y="3228"/>
                    <a:pt x="7031" y="3238"/>
                  </a:cubicBezTo>
                  <a:cubicBezTo>
                    <a:pt x="7003" y="3248"/>
                    <a:pt x="6999" y="3269"/>
                    <a:pt x="7011" y="3293"/>
                  </a:cubicBezTo>
                  <a:cubicBezTo>
                    <a:pt x="7054" y="3378"/>
                    <a:pt x="7094" y="3465"/>
                    <a:pt x="7158" y="3538"/>
                  </a:cubicBezTo>
                  <a:cubicBezTo>
                    <a:pt x="7229" y="3620"/>
                    <a:pt x="7323" y="3662"/>
                    <a:pt x="7422" y="3695"/>
                  </a:cubicBezTo>
                  <a:cubicBezTo>
                    <a:pt x="7443" y="3703"/>
                    <a:pt x="7467" y="3704"/>
                    <a:pt x="7487" y="3717"/>
                  </a:cubicBezTo>
                  <a:cubicBezTo>
                    <a:pt x="7494" y="3721"/>
                    <a:pt x="7503" y="3720"/>
                    <a:pt x="7510" y="3714"/>
                  </a:cubicBezTo>
                  <a:cubicBezTo>
                    <a:pt x="7517" y="3708"/>
                    <a:pt x="7519" y="3699"/>
                    <a:pt x="7513" y="3692"/>
                  </a:cubicBezTo>
                  <a:cubicBezTo>
                    <a:pt x="7477" y="3643"/>
                    <a:pt x="7466" y="3587"/>
                    <a:pt x="7467" y="3527"/>
                  </a:cubicBezTo>
                  <a:cubicBezTo>
                    <a:pt x="7467" y="3509"/>
                    <a:pt x="7457" y="3496"/>
                    <a:pt x="7441" y="3487"/>
                  </a:cubicBezTo>
                  <a:cubicBezTo>
                    <a:pt x="7416" y="3472"/>
                    <a:pt x="7393" y="3454"/>
                    <a:pt x="7367" y="3441"/>
                  </a:cubicBezTo>
                  <a:cubicBezTo>
                    <a:pt x="7299" y="3408"/>
                    <a:pt x="7258" y="3353"/>
                    <a:pt x="7234" y="3284"/>
                  </a:cubicBezTo>
                  <a:cubicBezTo>
                    <a:pt x="7224" y="3252"/>
                    <a:pt x="7219" y="3219"/>
                    <a:pt x="7213" y="3186"/>
                  </a:cubicBezTo>
                  <a:cubicBezTo>
                    <a:pt x="7208" y="3158"/>
                    <a:pt x="7225" y="3142"/>
                    <a:pt x="7247" y="3156"/>
                  </a:cubicBezTo>
                  <a:cubicBezTo>
                    <a:pt x="7298" y="3187"/>
                    <a:pt x="7356" y="3208"/>
                    <a:pt x="7401" y="3249"/>
                  </a:cubicBezTo>
                  <a:cubicBezTo>
                    <a:pt x="7432" y="3278"/>
                    <a:pt x="7450" y="3316"/>
                    <a:pt x="7468" y="3353"/>
                  </a:cubicBezTo>
                  <a:cubicBezTo>
                    <a:pt x="7473" y="3365"/>
                    <a:pt x="7480" y="3376"/>
                    <a:pt x="7494" y="3376"/>
                  </a:cubicBezTo>
                  <a:cubicBezTo>
                    <a:pt x="7509" y="3376"/>
                    <a:pt x="7514" y="3365"/>
                    <a:pt x="7520" y="3353"/>
                  </a:cubicBezTo>
                  <a:cubicBezTo>
                    <a:pt x="7528" y="3336"/>
                    <a:pt x="7534" y="3317"/>
                    <a:pt x="7547" y="3305"/>
                  </a:cubicBezTo>
                  <a:cubicBezTo>
                    <a:pt x="7577" y="3274"/>
                    <a:pt x="7588" y="3240"/>
                    <a:pt x="7585" y="3197"/>
                  </a:cubicBezTo>
                  <a:cubicBezTo>
                    <a:pt x="7581" y="3143"/>
                    <a:pt x="7609" y="3097"/>
                    <a:pt x="7634" y="3052"/>
                  </a:cubicBezTo>
                  <a:cubicBezTo>
                    <a:pt x="7659" y="3008"/>
                    <a:pt x="7695" y="2973"/>
                    <a:pt x="7730" y="2938"/>
                  </a:cubicBezTo>
                  <a:cubicBezTo>
                    <a:pt x="7762" y="2905"/>
                    <a:pt x="7783" y="2912"/>
                    <a:pt x="7803" y="2956"/>
                  </a:cubicBezTo>
                  <a:cubicBezTo>
                    <a:pt x="7839" y="3035"/>
                    <a:pt x="7802" y="3096"/>
                    <a:pt x="7758" y="3157"/>
                  </a:cubicBezTo>
                  <a:cubicBezTo>
                    <a:pt x="7746" y="3174"/>
                    <a:pt x="7713" y="3184"/>
                    <a:pt x="7728" y="3212"/>
                  </a:cubicBezTo>
                  <a:cubicBezTo>
                    <a:pt x="7741" y="3236"/>
                    <a:pt x="7770" y="3223"/>
                    <a:pt x="7791" y="3226"/>
                  </a:cubicBezTo>
                  <a:cubicBezTo>
                    <a:pt x="7815" y="3230"/>
                    <a:pt x="7837" y="3219"/>
                    <a:pt x="7856" y="3208"/>
                  </a:cubicBezTo>
                  <a:cubicBezTo>
                    <a:pt x="7919" y="3173"/>
                    <a:pt x="7978" y="3197"/>
                    <a:pt x="8037" y="3215"/>
                  </a:cubicBezTo>
                  <a:cubicBezTo>
                    <a:pt x="8054" y="3221"/>
                    <a:pt x="8070" y="3233"/>
                    <a:pt x="8087" y="3240"/>
                  </a:cubicBezTo>
                  <a:cubicBezTo>
                    <a:pt x="8106" y="3249"/>
                    <a:pt x="8116" y="3263"/>
                    <a:pt x="8118" y="3283"/>
                  </a:cubicBezTo>
                  <a:cubicBezTo>
                    <a:pt x="8119" y="3292"/>
                    <a:pt x="8120" y="3300"/>
                    <a:pt x="8120" y="3308"/>
                  </a:cubicBezTo>
                  <a:cubicBezTo>
                    <a:pt x="8118" y="3336"/>
                    <a:pt x="8150" y="3367"/>
                    <a:pt x="8124" y="3390"/>
                  </a:cubicBezTo>
                  <a:cubicBezTo>
                    <a:pt x="8103" y="3410"/>
                    <a:pt x="8068" y="3397"/>
                    <a:pt x="8040" y="3399"/>
                  </a:cubicBezTo>
                  <a:cubicBezTo>
                    <a:pt x="7967" y="3403"/>
                    <a:pt x="7899" y="3392"/>
                    <a:pt x="7841" y="3343"/>
                  </a:cubicBezTo>
                  <a:cubicBezTo>
                    <a:pt x="7824" y="3328"/>
                    <a:pt x="7802" y="3319"/>
                    <a:pt x="7778" y="3318"/>
                  </a:cubicBezTo>
                  <a:cubicBezTo>
                    <a:pt x="7766" y="3317"/>
                    <a:pt x="7752" y="3318"/>
                    <a:pt x="7747" y="3332"/>
                  </a:cubicBezTo>
                  <a:cubicBezTo>
                    <a:pt x="7743" y="3343"/>
                    <a:pt x="7753" y="3351"/>
                    <a:pt x="7762" y="3356"/>
                  </a:cubicBezTo>
                  <a:cubicBezTo>
                    <a:pt x="7815" y="3389"/>
                    <a:pt x="7865" y="3427"/>
                    <a:pt x="7910" y="3469"/>
                  </a:cubicBezTo>
                  <a:cubicBezTo>
                    <a:pt x="7925" y="3483"/>
                    <a:pt x="7952" y="3490"/>
                    <a:pt x="7941" y="3517"/>
                  </a:cubicBezTo>
                  <a:cubicBezTo>
                    <a:pt x="7932" y="3540"/>
                    <a:pt x="7907" y="3539"/>
                    <a:pt x="7887" y="3538"/>
                  </a:cubicBezTo>
                  <a:cubicBezTo>
                    <a:pt x="7802" y="3538"/>
                    <a:pt x="7719" y="3524"/>
                    <a:pt x="7681" y="3421"/>
                  </a:cubicBezTo>
                  <a:cubicBezTo>
                    <a:pt x="7676" y="3410"/>
                    <a:pt x="7668" y="3400"/>
                    <a:pt x="7660" y="3391"/>
                  </a:cubicBezTo>
                  <a:cubicBezTo>
                    <a:pt x="7653" y="3382"/>
                    <a:pt x="7641" y="3382"/>
                    <a:pt x="7632" y="3389"/>
                  </a:cubicBezTo>
                  <a:cubicBezTo>
                    <a:pt x="7613" y="3404"/>
                    <a:pt x="7603" y="3423"/>
                    <a:pt x="7603" y="3448"/>
                  </a:cubicBezTo>
                  <a:cubicBezTo>
                    <a:pt x="7604" y="3472"/>
                    <a:pt x="7613" y="3487"/>
                    <a:pt x="7637" y="3495"/>
                  </a:cubicBezTo>
                  <a:cubicBezTo>
                    <a:pt x="7721" y="3526"/>
                    <a:pt x="7787" y="3581"/>
                    <a:pt x="7840" y="3653"/>
                  </a:cubicBezTo>
                  <a:cubicBezTo>
                    <a:pt x="7864" y="3685"/>
                    <a:pt x="7862" y="3690"/>
                    <a:pt x="7823" y="3701"/>
                  </a:cubicBezTo>
                  <a:cubicBezTo>
                    <a:pt x="7798" y="3708"/>
                    <a:pt x="7774" y="3710"/>
                    <a:pt x="7750" y="3700"/>
                  </a:cubicBezTo>
                  <a:cubicBezTo>
                    <a:pt x="7734" y="3694"/>
                    <a:pt x="7718" y="3689"/>
                    <a:pt x="7702" y="3686"/>
                  </a:cubicBezTo>
                  <a:cubicBezTo>
                    <a:pt x="7675" y="3682"/>
                    <a:pt x="7664" y="3695"/>
                    <a:pt x="7678" y="3718"/>
                  </a:cubicBezTo>
                  <a:cubicBezTo>
                    <a:pt x="7697" y="3750"/>
                    <a:pt x="7720" y="3779"/>
                    <a:pt x="7741" y="3809"/>
                  </a:cubicBezTo>
                  <a:cubicBezTo>
                    <a:pt x="7806" y="3903"/>
                    <a:pt x="7898" y="3970"/>
                    <a:pt x="7985" y="4041"/>
                  </a:cubicBezTo>
                  <a:cubicBezTo>
                    <a:pt x="8038" y="4084"/>
                    <a:pt x="8092" y="4125"/>
                    <a:pt x="8131" y="4183"/>
                  </a:cubicBezTo>
                  <a:cubicBezTo>
                    <a:pt x="8163" y="4230"/>
                    <a:pt x="8181" y="4284"/>
                    <a:pt x="8211" y="4331"/>
                  </a:cubicBezTo>
                  <a:cubicBezTo>
                    <a:pt x="8219" y="4343"/>
                    <a:pt x="8225" y="4357"/>
                    <a:pt x="8233" y="4369"/>
                  </a:cubicBezTo>
                  <a:cubicBezTo>
                    <a:pt x="8241" y="4382"/>
                    <a:pt x="8255" y="4388"/>
                    <a:pt x="8271" y="4385"/>
                  </a:cubicBezTo>
                  <a:cubicBezTo>
                    <a:pt x="8285" y="4382"/>
                    <a:pt x="8288" y="4369"/>
                    <a:pt x="8292" y="4357"/>
                  </a:cubicBezTo>
                  <a:cubicBezTo>
                    <a:pt x="8309" y="4309"/>
                    <a:pt x="8319" y="4260"/>
                    <a:pt x="8282" y="4216"/>
                  </a:cubicBezTo>
                  <a:cubicBezTo>
                    <a:pt x="8207" y="4128"/>
                    <a:pt x="8224" y="4032"/>
                    <a:pt x="8257" y="3934"/>
                  </a:cubicBezTo>
                  <a:cubicBezTo>
                    <a:pt x="8259" y="3926"/>
                    <a:pt x="8262" y="3919"/>
                    <a:pt x="8266" y="3911"/>
                  </a:cubicBezTo>
                  <a:cubicBezTo>
                    <a:pt x="8266" y="3909"/>
                    <a:pt x="8269" y="3908"/>
                    <a:pt x="8274" y="3903"/>
                  </a:cubicBezTo>
                  <a:cubicBezTo>
                    <a:pt x="8328" y="3936"/>
                    <a:pt x="8352" y="3989"/>
                    <a:pt x="8363" y="4048"/>
                  </a:cubicBezTo>
                  <a:cubicBezTo>
                    <a:pt x="8368" y="4078"/>
                    <a:pt x="8366" y="4110"/>
                    <a:pt x="8366" y="4142"/>
                  </a:cubicBezTo>
                  <a:cubicBezTo>
                    <a:pt x="8367" y="4158"/>
                    <a:pt x="8362" y="4178"/>
                    <a:pt x="8380" y="4186"/>
                  </a:cubicBezTo>
                  <a:cubicBezTo>
                    <a:pt x="8402" y="4196"/>
                    <a:pt x="8414" y="4176"/>
                    <a:pt x="8426" y="4163"/>
                  </a:cubicBezTo>
                  <a:cubicBezTo>
                    <a:pt x="8441" y="4146"/>
                    <a:pt x="8454" y="4127"/>
                    <a:pt x="8468" y="4108"/>
                  </a:cubicBezTo>
                  <a:cubicBezTo>
                    <a:pt x="8505" y="4057"/>
                    <a:pt x="8549" y="4021"/>
                    <a:pt x="8620" y="4035"/>
                  </a:cubicBezTo>
                  <a:cubicBezTo>
                    <a:pt x="8658" y="4043"/>
                    <a:pt x="8699" y="4038"/>
                    <a:pt x="8738" y="4044"/>
                  </a:cubicBezTo>
                  <a:cubicBezTo>
                    <a:pt x="8781" y="4050"/>
                    <a:pt x="8787" y="4068"/>
                    <a:pt x="8761" y="4103"/>
                  </a:cubicBezTo>
                  <a:cubicBezTo>
                    <a:pt x="8708" y="4177"/>
                    <a:pt x="8629" y="4207"/>
                    <a:pt x="8545" y="4227"/>
                  </a:cubicBezTo>
                  <a:cubicBezTo>
                    <a:pt x="8531" y="4231"/>
                    <a:pt x="8516" y="4233"/>
                    <a:pt x="8502" y="4236"/>
                  </a:cubicBezTo>
                  <a:cubicBezTo>
                    <a:pt x="8489" y="4239"/>
                    <a:pt x="8479" y="4246"/>
                    <a:pt x="8480" y="4262"/>
                  </a:cubicBezTo>
                  <a:cubicBezTo>
                    <a:pt x="8481" y="4276"/>
                    <a:pt x="8490" y="4285"/>
                    <a:pt x="8503" y="4288"/>
                  </a:cubicBezTo>
                  <a:cubicBezTo>
                    <a:pt x="8510" y="4290"/>
                    <a:pt x="8519" y="4289"/>
                    <a:pt x="8527" y="4289"/>
                  </a:cubicBezTo>
                  <a:cubicBezTo>
                    <a:pt x="8603" y="4288"/>
                    <a:pt x="8668" y="4324"/>
                    <a:pt x="8735" y="4352"/>
                  </a:cubicBezTo>
                  <a:cubicBezTo>
                    <a:pt x="8752" y="4359"/>
                    <a:pt x="8754" y="4371"/>
                    <a:pt x="8742" y="4386"/>
                  </a:cubicBezTo>
                  <a:cubicBezTo>
                    <a:pt x="8703" y="4434"/>
                    <a:pt x="8646" y="4444"/>
                    <a:pt x="8593" y="4457"/>
                  </a:cubicBezTo>
                  <a:cubicBezTo>
                    <a:pt x="8553" y="4467"/>
                    <a:pt x="8518" y="4438"/>
                    <a:pt x="8484" y="4420"/>
                  </a:cubicBezTo>
                  <a:cubicBezTo>
                    <a:pt x="8469" y="4413"/>
                    <a:pt x="8458" y="4400"/>
                    <a:pt x="8445" y="4390"/>
                  </a:cubicBezTo>
                  <a:cubicBezTo>
                    <a:pt x="8431" y="4379"/>
                    <a:pt x="8416" y="4372"/>
                    <a:pt x="8399" y="4383"/>
                  </a:cubicBezTo>
                  <a:cubicBezTo>
                    <a:pt x="8382" y="4392"/>
                    <a:pt x="8379" y="4408"/>
                    <a:pt x="8379" y="4426"/>
                  </a:cubicBezTo>
                  <a:cubicBezTo>
                    <a:pt x="8379" y="4453"/>
                    <a:pt x="8385" y="4479"/>
                    <a:pt x="8398" y="4503"/>
                  </a:cubicBezTo>
                  <a:cubicBezTo>
                    <a:pt x="8421" y="4546"/>
                    <a:pt x="8438" y="4591"/>
                    <a:pt x="8464" y="4631"/>
                  </a:cubicBezTo>
                  <a:cubicBezTo>
                    <a:pt x="8506" y="4696"/>
                    <a:pt x="8520" y="4773"/>
                    <a:pt x="8561" y="4839"/>
                  </a:cubicBezTo>
                  <a:cubicBezTo>
                    <a:pt x="8599" y="4899"/>
                    <a:pt x="8644" y="4953"/>
                    <a:pt x="8690" y="5005"/>
                  </a:cubicBezTo>
                  <a:cubicBezTo>
                    <a:pt x="8720" y="5039"/>
                    <a:pt x="8748" y="5075"/>
                    <a:pt x="8788" y="5100"/>
                  </a:cubicBezTo>
                  <a:cubicBezTo>
                    <a:pt x="8826" y="5123"/>
                    <a:pt x="8864" y="5133"/>
                    <a:pt x="8906" y="5136"/>
                  </a:cubicBezTo>
                  <a:cubicBezTo>
                    <a:pt x="8970" y="5140"/>
                    <a:pt x="9035" y="5138"/>
                    <a:pt x="9099" y="5136"/>
                  </a:cubicBezTo>
                  <a:cubicBezTo>
                    <a:pt x="9147" y="5134"/>
                    <a:pt x="9195" y="5133"/>
                    <a:pt x="9242" y="5140"/>
                  </a:cubicBezTo>
                  <a:cubicBezTo>
                    <a:pt x="9257" y="5142"/>
                    <a:pt x="9273" y="5146"/>
                    <a:pt x="9278" y="5126"/>
                  </a:cubicBezTo>
                  <a:cubicBezTo>
                    <a:pt x="9282" y="5113"/>
                    <a:pt x="9274" y="5102"/>
                    <a:pt x="9262" y="5096"/>
                  </a:cubicBezTo>
                  <a:cubicBezTo>
                    <a:pt x="9211" y="5072"/>
                    <a:pt x="9181" y="5025"/>
                    <a:pt x="9146" y="4985"/>
                  </a:cubicBezTo>
                  <a:cubicBezTo>
                    <a:pt x="9109" y="4942"/>
                    <a:pt x="9111" y="4946"/>
                    <a:pt x="9057" y="4961"/>
                  </a:cubicBezTo>
                  <a:cubicBezTo>
                    <a:pt x="8966" y="4988"/>
                    <a:pt x="8873" y="5016"/>
                    <a:pt x="8777" y="4979"/>
                  </a:cubicBezTo>
                  <a:cubicBezTo>
                    <a:pt x="8763" y="4973"/>
                    <a:pt x="8749" y="4971"/>
                    <a:pt x="8738" y="4961"/>
                  </a:cubicBezTo>
                  <a:cubicBezTo>
                    <a:pt x="8725" y="4949"/>
                    <a:pt x="8721" y="4937"/>
                    <a:pt x="8735" y="4924"/>
                  </a:cubicBezTo>
                  <a:cubicBezTo>
                    <a:pt x="8798" y="4865"/>
                    <a:pt x="8868" y="4819"/>
                    <a:pt x="8958" y="4813"/>
                  </a:cubicBezTo>
                  <a:cubicBezTo>
                    <a:pt x="8982" y="4811"/>
                    <a:pt x="9003" y="4819"/>
                    <a:pt x="9025" y="4825"/>
                  </a:cubicBezTo>
                  <a:cubicBezTo>
                    <a:pt x="9070" y="4839"/>
                    <a:pt x="9079" y="4830"/>
                    <a:pt x="9069" y="4786"/>
                  </a:cubicBezTo>
                  <a:cubicBezTo>
                    <a:pt x="9055" y="4729"/>
                    <a:pt x="9029" y="4705"/>
                    <a:pt x="8971" y="4697"/>
                  </a:cubicBezTo>
                  <a:cubicBezTo>
                    <a:pt x="8952" y="4695"/>
                    <a:pt x="8933" y="4693"/>
                    <a:pt x="8915" y="4692"/>
                  </a:cubicBezTo>
                  <a:cubicBezTo>
                    <a:pt x="8881" y="4688"/>
                    <a:pt x="8856" y="4673"/>
                    <a:pt x="8836" y="4646"/>
                  </a:cubicBezTo>
                  <a:cubicBezTo>
                    <a:pt x="8797" y="4594"/>
                    <a:pt x="8768" y="4537"/>
                    <a:pt x="8739" y="4479"/>
                  </a:cubicBezTo>
                  <a:cubicBezTo>
                    <a:pt x="8726" y="4452"/>
                    <a:pt x="8738" y="4436"/>
                    <a:pt x="8768" y="4439"/>
                  </a:cubicBezTo>
                  <a:cubicBezTo>
                    <a:pt x="8780" y="4441"/>
                    <a:pt x="8793" y="4444"/>
                    <a:pt x="8804" y="4451"/>
                  </a:cubicBezTo>
                  <a:cubicBezTo>
                    <a:pt x="8840" y="4472"/>
                    <a:pt x="8880" y="4484"/>
                    <a:pt x="8920" y="4495"/>
                  </a:cubicBezTo>
                  <a:cubicBezTo>
                    <a:pt x="8960" y="4506"/>
                    <a:pt x="8993" y="4524"/>
                    <a:pt x="9012" y="4563"/>
                  </a:cubicBezTo>
                  <a:cubicBezTo>
                    <a:pt x="9016" y="4570"/>
                    <a:pt x="9021" y="4577"/>
                    <a:pt x="9027" y="4583"/>
                  </a:cubicBezTo>
                  <a:cubicBezTo>
                    <a:pt x="9049" y="4607"/>
                    <a:pt x="9072" y="4603"/>
                    <a:pt x="9082" y="4571"/>
                  </a:cubicBezTo>
                  <a:cubicBezTo>
                    <a:pt x="9092" y="4539"/>
                    <a:pt x="9094" y="4505"/>
                    <a:pt x="9092" y="4472"/>
                  </a:cubicBezTo>
                  <a:cubicBezTo>
                    <a:pt x="9085" y="4355"/>
                    <a:pt x="9151" y="4282"/>
                    <a:pt x="9242" y="4225"/>
                  </a:cubicBezTo>
                  <a:cubicBezTo>
                    <a:pt x="9262" y="4212"/>
                    <a:pt x="9275" y="4216"/>
                    <a:pt x="9285" y="4241"/>
                  </a:cubicBezTo>
                  <a:cubicBezTo>
                    <a:pt x="9321" y="4334"/>
                    <a:pt x="9303" y="4416"/>
                    <a:pt x="9237" y="4489"/>
                  </a:cubicBezTo>
                  <a:cubicBezTo>
                    <a:pt x="9200" y="4529"/>
                    <a:pt x="9167" y="4571"/>
                    <a:pt x="9164" y="4629"/>
                  </a:cubicBezTo>
                  <a:cubicBezTo>
                    <a:pt x="9163" y="4644"/>
                    <a:pt x="9161" y="4659"/>
                    <a:pt x="9176" y="4668"/>
                  </a:cubicBezTo>
                  <a:cubicBezTo>
                    <a:pt x="9194" y="4679"/>
                    <a:pt x="9208" y="4669"/>
                    <a:pt x="9220" y="4656"/>
                  </a:cubicBezTo>
                  <a:cubicBezTo>
                    <a:pt x="9270" y="4599"/>
                    <a:pt x="9342" y="4581"/>
                    <a:pt x="9408" y="4553"/>
                  </a:cubicBezTo>
                  <a:cubicBezTo>
                    <a:pt x="9451" y="4535"/>
                    <a:pt x="9464" y="4548"/>
                    <a:pt x="9464" y="4594"/>
                  </a:cubicBezTo>
                  <a:cubicBezTo>
                    <a:pt x="9464" y="4611"/>
                    <a:pt x="9460" y="4627"/>
                    <a:pt x="9452" y="4642"/>
                  </a:cubicBezTo>
                  <a:cubicBezTo>
                    <a:pt x="9408" y="4724"/>
                    <a:pt x="9346" y="4780"/>
                    <a:pt x="9246" y="4775"/>
                  </a:cubicBezTo>
                  <a:cubicBezTo>
                    <a:pt x="9237" y="4775"/>
                    <a:pt x="9229" y="4774"/>
                    <a:pt x="9221" y="4774"/>
                  </a:cubicBezTo>
                  <a:cubicBezTo>
                    <a:pt x="9204" y="4774"/>
                    <a:pt x="9187" y="4774"/>
                    <a:pt x="9178" y="4793"/>
                  </a:cubicBezTo>
                  <a:cubicBezTo>
                    <a:pt x="9170" y="4811"/>
                    <a:pt x="9181" y="4825"/>
                    <a:pt x="9189" y="4839"/>
                  </a:cubicBezTo>
                  <a:cubicBezTo>
                    <a:pt x="9205" y="4865"/>
                    <a:pt x="9222" y="4853"/>
                    <a:pt x="9242" y="4842"/>
                  </a:cubicBezTo>
                  <a:cubicBezTo>
                    <a:pt x="9319" y="4797"/>
                    <a:pt x="9405" y="4782"/>
                    <a:pt x="9493" y="4782"/>
                  </a:cubicBezTo>
                  <a:cubicBezTo>
                    <a:pt x="9502" y="4782"/>
                    <a:pt x="9510" y="4783"/>
                    <a:pt x="9518" y="4784"/>
                  </a:cubicBezTo>
                  <a:cubicBezTo>
                    <a:pt x="9522" y="4785"/>
                    <a:pt x="9525" y="4789"/>
                    <a:pt x="9530" y="4792"/>
                  </a:cubicBezTo>
                  <a:cubicBezTo>
                    <a:pt x="9506" y="4899"/>
                    <a:pt x="9433" y="4950"/>
                    <a:pt x="9331" y="4969"/>
                  </a:cubicBezTo>
                  <a:cubicBezTo>
                    <a:pt x="9321" y="4971"/>
                    <a:pt x="9310" y="4970"/>
                    <a:pt x="9300" y="4972"/>
                  </a:cubicBezTo>
                  <a:cubicBezTo>
                    <a:pt x="9283" y="4977"/>
                    <a:pt x="9278" y="4995"/>
                    <a:pt x="9292" y="5006"/>
                  </a:cubicBezTo>
                  <a:cubicBezTo>
                    <a:pt x="9312" y="5021"/>
                    <a:pt x="9332" y="5036"/>
                    <a:pt x="9358" y="5039"/>
                  </a:cubicBezTo>
                  <a:cubicBezTo>
                    <a:pt x="9413" y="5044"/>
                    <a:pt x="9462" y="5068"/>
                    <a:pt x="9512" y="5086"/>
                  </a:cubicBezTo>
                  <a:cubicBezTo>
                    <a:pt x="9593" y="5116"/>
                    <a:pt x="9672" y="5157"/>
                    <a:pt x="9763" y="5152"/>
                  </a:cubicBezTo>
                  <a:cubicBezTo>
                    <a:pt x="9804" y="5150"/>
                    <a:pt x="9846" y="5163"/>
                    <a:pt x="9887" y="5163"/>
                  </a:cubicBezTo>
                  <a:cubicBezTo>
                    <a:pt x="9937" y="5164"/>
                    <a:pt x="9949" y="5143"/>
                    <a:pt x="9920" y="5103"/>
                  </a:cubicBezTo>
                  <a:cubicBezTo>
                    <a:pt x="9852" y="5008"/>
                    <a:pt x="9826" y="4901"/>
                    <a:pt x="9814" y="4788"/>
                  </a:cubicBezTo>
                  <a:cubicBezTo>
                    <a:pt x="9813" y="4778"/>
                    <a:pt x="9811" y="4767"/>
                    <a:pt x="9813" y="4757"/>
                  </a:cubicBezTo>
                  <a:cubicBezTo>
                    <a:pt x="9829" y="4665"/>
                    <a:pt x="9829" y="4572"/>
                    <a:pt x="9828" y="4479"/>
                  </a:cubicBezTo>
                  <a:cubicBezTo>
                    <a:pt x="9827" y="4389"/>
                    <a:pt x="9798" y="4309"/>
                    <a:pt x="9752" y="4233"/>
                  </a:cubicBezTo>
                  <a:cubicBezTo>
                    <a:pt x="9690" y="4130"/>
                    <a:pt x="9625" y="4029"/>
                    <a:pt x="9573" y="3920"/>
                  </a:cubicBezTo>
                  <a:cubicBezTo>
                    <a:pt x="9543" y="3856"/>
                    <a:pt x="9502" y="3798"/>
                    <a:pt x="9449" y="3750"/>
                  </a:cubicBezTo>
                  <a:cubicBezTo>
                    <a:pt x="9365" y="3673"/>
                    <a:pt x="9229" y="3695"/>
                    <a:pt x="9173" y="3795"/>
                  </a:cubicBezTo>
                  <a:cubicBezTo>
                    <a:pt x="9165" y="3809"/>
                    <a:pt x="9155" y="3823"/>
                    <a:pt x="9150" y="3838"/>
                  </a:cubicBezTo>
                  <a:cubicBezTo>
                    <a:pt x="9127" y="3911"/>
                    <a:pt x="9065" y="3936"/>
                    <a:pt x="9004" y="3964"/>
                  </a:cubicBezTo>
                  <a:cubicBezTo>
                    <a:pt x="8991" y="3970"/>
                    <a:pt x="8977" y="3972"/>
                    <a:pt x="8962" y="3972"/>
                  </a:cubicBezTo>
                  <a:cubicBezTo>
                    <a:pt x="8928" y="3970"/>
                    <a:pt x="8914" y="3958"/>
                    <a:pt x="8919" y="3925"/>
                  </a:cubicBezTo>
                  <a:cubicBezTo>
                    <a:pt x="8924" y="3886"/>
                    <a:pt x="8932" y="3847"/>
                    <a:pt x="8945" y="3810"/>
                  </a:cubicBezTo>
                  <a:cubicBezTo>
                    <a:pt x="8956" y="3779"/>
                    <a:pt x="8991" y="3769"/>
                    <a:pt x="9015" y="3751"/>
                  </a:cubicBezTo>
                  <a:cubicBezTo>
                    <a:pt x="9031" y="3738"/>
                    <a:pt x="9060" y="3731"/>
                    <a:pt x="9053" y="3707"/>
                  </a:cubicBezTo>
                  <a:cubicBezTo>
                    <a:pt x="9045" y="3679"/>
                    <a:pt x="9015" y="3691"/>
                    <a:pt x="8993" y="3691"/>
                  </a:cubicBezTo>
                  <a:cubicBezTo>
                    <a:pt x="8919" y="3692"/>
                    <a:pt x="8877" y="3744"/>
                    <a:pt x="8838" y="3795"/>
                  </a:cubicBezTo>
                  <a:cubicBezTo>
                    <a:pt x="8801" y="3844"/>
                    <a:pt x="8761" y="3885"/>
                    <a:pt x="8702" y="3907"/>
                  </a:cubicBezTo>
                  <a:cubicBezTo>
                    <a:pt x="8671" y="3919"/>
                    <a:pt x="8643" y="3938"/>
                    <a:pt x="8620" y="3963"/>
                  </a:cubicBezTo>
                  <a:cubicBezTo>
                    <a:pt x="8613" y="3971"/>
                    <a:pt x="8603" y="3976"/>
                    <a:pt x="8592" y="3971"/>
                  </a:cubicBezTo>
                  <a:cubicBezTo>
                    <a:pt x="8581" y="3965"/>
                    <a:pt x="8580" y="3955"/>
                    <a:pt x="8581" y="3944"/>
                  </a:cubicBezTo>
                  <a:cubicBezTo>
                    <a:pt x="8586" y="3880"/>
                    <a:pt x="8608" y="3823"/>
                    <a:pt x="8648" y="3772"/>
                  </a:cubicBezTo>
                  <a:cubicBezTo>
                    <a:pt x="8667" y="3748"/>
                    <a:pt x="8699" y="3745"/>
                    <a:pt x="8724" y="3731"/>
                  </a:cubicBezTo>
                  <a:cubicBezTo>
                    <a:pt x="8735" y="3725"/>
                    <a:pt x="8747" y="3719"/>
                    <a:pt x="8745" y="3704"/>
                  </a:cubicBezTo>
                  <a:cubicBezTo>
                    <a:pt x="8742" y="3686"/>
                    <a:pt x="8726" y="3680"/>
                    <a:pt x="8712" y="3680"/>
                  </a:cubicBezTo>
                  <a:cubicBezTo>
                    <a:pt x="8677" y="3682"/>
                    <a:pt x="8641" y="3687"/>
                    <a:pt x="8617" y="3719"/>
                  </a:cubicBezTo>
                  <a:cubicBezTo>
                    <a:pt x="8581" y="3766"/>
                    <a:pt x="8529" y="3785"/>
                    <a:pt x="8473" y="3794"/>
                  </a:cubicBezTo>
                  <a:cubicBezTo>
                    <a:pt x="8446" y="3799"/>
                    <a:pt x="8419" y="3801"/>
                    <a:pt x="8392" y="3795"/>
                  </a:cubicBezTo>
                  <a:cubicBezTo>
                    <a:pt x="8328" y="3781"/>
                    <a:pt x="8268" y="3783"/>
                    <a:pt x="8213" y="3825"/>
                  </a:cubicBezTo>
                  <a:cubicBezTo>
                    <a:pt x="8210" y="3828"/>
                    <a:pt x="8202" y="3825"/>
                    <a:pt x="8197" y="3825"/>
                  </a:cubicBezTo>
                  <a:cubicBezTo>
                    <a:pt x="8186" y="3817"/>
                    <a:pt x="8192" y="3809"/>
                    <a:pt x="8196" y="3802"/>
                  </a:cubicBezTo>
                  <a:cubicBezTo>
                    <a:pt x="8250" y="3716"/>
                    <a:pt x="8321" y="3647"/>
                    <a:pt x="8414" y="3605"/>
                  </a:cubicBezTo>
                  <a:cubicBezTo>
                    <a:pt x="8473" y="3578"/>
                    <a:pt x="8534" y="3573"/>
                    <a:pt x="8597" y="3593"/>
                  </a:cubicBezTo>
                  <a:cubicBezTo>
                    <a:pt x="8605" y="3596"/>
                    <a:pt x="8613" y="3598"/>
                    <a:pt x="8621" y="3599"/>
                  </a:cubicBezTo>
                  <a:cubicBezTo>
                    <a:pt x="8642" y="3601"/>
                    <a:pt x="8654" y="3585"/>
                    <a:pt x="8642" y="3568"/>
                  </a:cubicBezTo>
                  <a:cubicBezTo>
                    <a:pt x="8621" y="3535"/>
                    <a:pt x="8604" y="3497"/>
                    <a:pt x="8559" y="3489"/>
                  </a:cubicBezTo>
                  <a:cubicBezTo>
                    <a:pt x="8542" y="3486"/>
                    <a:pt x="8525" y="3482"/>
                    <a:pt x="8523" y="3461"/>
                  </a:cubicBezTo>
                  <a:cubicBezTo>
                    <a:pt x="8521" y="3442"/>
                    <a:pt x="8538" y="3439"/>
                    <a:pt x="8551" y="3434"/>
                  </a:cubicBezTo>
                  <a:cubicBezTo>
                    <a:pt x="8553" y="3433"/>
                    <a:pt x="8555" y="3433"/>
                    <a:pt x="8557" y="3431"/>
                  </a:cubicBezTo>
                  <a:cubicBezTo>
                    <a:pt x="8627" y="3356"/>
                    <a:pt x="8704" y="3387"/>
                    <a:pt x="8779" y="3420"/>
                  </a:cubicBezTo>
                  <a:cubicBezTo>
                    <a:pt x="8821" y="3438"/>
                    <a:pt x="8845" y="3475"/>
                    <a:pt x="8864" y="3516"/>
                  </a:cubicBezTo>
                  <a:cubicBezTo>
                    <a:pt x="8872" y="3532"/>
                    <a:pt x="8877" y="3550"/>
                    <a:pt x="8884" y="3568"/>
                  </a:cubicBezTo>
                  <a:cubicBezTo>
                    <a:pt x="8896" y="3596"/>
                    <a:pt x="8916" y="3610"/>
                    <a:pt x="8947" y="3609"/>
                  </a:cubicBezTo>
                  <a:cubicBezTo>
                    <a:pt x="8987" y="3607"/>
                    <a:pt x="9026" y="3606"/>
                    <a:pt x="9065" y="3604"/>
                  </a:cubicBezTo>
                  <a:cubicBezTo>
                    <a:pt x="9073" y="3604"/>
                    <a:pt x="9080" y="3598"/>
                    <a:pt x="9091" y="3593"/>
                  </a:cubicBezTo>
                  <a:cubicBezTo>
                    <a:pt x="9064" y="3567"/>
                    <a:pt x="9036" y="3551"/>
                    <a:pt x="9001" y="3547"/>
                  </a:cubicBezTo>
                  <a:cubicBezTo>
                    <a:pt x="8987" y="3546"/>
                    <a:pt x="8972" y="3546"/>
                    <a:pt x="8958" y="3543"/>
                  </a:cubicBezTo>
                  <a:cubicBezTo>
                    <a:pt x="8931" y="3537"/>
                    <a:pt x="8926" y="3521"/>
                    <a:pt x="8944" y="3498"/>
                  </a:cubicBezTo>
                  <a:cubicBezTo>
                    <a:pt x="9013" y="3408"/>
                    <a:pt x="9155" y="3410"/>
                    <a:pt x="9223" y="3518"/>
                  </a:cubicBezTo>
                  <a:cubicBezTo>
                    <a:pt x="9233" y="3534"/>
                    <a:pt x="9242" y="3551"/>
                    <a:pt x="9250" y="3568"/>
                  </a:cubicBezTo>
                  <a:cubicBezTo>
                    <a:pt x="9260" y="3587"/>
                    <a:pt x="9276" y="3593"/>
                    <a:pt x="9297" y="3591"/>
                  </a:cubicBezTo>
                  <a:cubicBezTo>
                    <a:pt x="9324" y="3587"/>
                    <a:pt x="9336" y="3565"/>
                    <a:pt x="9316" y="3548"/>
                  </a:cubicBezTo>
                  <a:cubicBezTo>
                    <a:pt x="9210" y="3452"/>
                    <a:pt x="9136" y="3323"/>
                    <a:pt x="9005" y="3253"/>
                  </a:cubicBezTo>
                  <a:cubicBezTo>
                    <a:pt x="8961" y="3230"/>
                    <a:pt x="8917" y="3207"/>
                    <a:pt x="8872" y="3184"/>
                  </a:cubicBezTo>
                  <a:cubicBezTo>
                    <a:pt x="8853" y="3175"/>
                    <a:pt x="8835" y="3165"/>
                    <a:pt x="8827" y="3144"/>
                  </a:cubicBezTo>
                  <a:cubicBezTo>
                    <a:pt x="8806" y="3092"/>
                    <a:pt x="8779" y="3044"/>
                    <a:pt x="8770" y="2987"/>
                  </a:cubicBezTo>
                  <a:cubicBezTo>
                    <a:pt x="8756" y="2903"/>
                    <a:pt x="8734" y="2820"/>
                    <a:pt x="8687" y="2747"/>
                  </a:cubicBezTo>
                  <a:cubicBezTo>
                    <a:pt x="8651" y="2690"/>
                    <a:pt x="8601" y="2647"/>
                    <a:pt x="8537" y="2621"/>
                  </a:cubicBezTo>
                  <a:cubicBezTo>
                    <a:pt x="8529" y="2618"/>
                    <a:pt x="8521" y="2615"/>
                    <a:pt x="8513" y="2614"/>
                  </a:cubicBezTo>
                  <a:cubicBezTo>
                    <a:pt x="8439" y="2602"/>
                    <a:pt x="8390" y="2623"/>
                    <a:pt x="8416" y="2710"/>
                  </a:cubicBezTo>
                  <a:cubicBezTo>
                    <a:pt x="8422" y="2728"/>
                    <a:pt x="8422" y="2747"/>
                    <a:pt x="8427" y="2766"/>
                  </a:cubicBezTo>
                  <a:cubicBezTo>
                    <a:pt x="8436" y="2805"/>
                    <a:pt x="8428" y="2839"/>
                    <a:pt x="8406" y="2872"/>
                  </a:cubicBezTo>
                  <a:cubicBezTo>
                    <a:pt x="8385" y="2903"/>
                    <a:pt x="8369" y="2937"/>
                    <a:pt x="8349" y="2968"/>
                  </a:cubicBezTo>
                  <a:cubicBezTo>
                    <a:pt x="8330" y="2997"/>
                    <a:pt x="8307" y="2997"/>
                    <a:pt x="8292" y="2967"/>
                  </a:cubicBezTo>
                  <a:cubicBezTo>
                    <a:pt x="8272" y="2927"/>
                    <a:pt x="8252" y="2885"/>
                    <a:pt x="8240" y="2841"/>
                  </a:cubicBezTo>
                  <a:cubicBezTo>
                    <a:pt x="8228" y="2798"/>
                    <a:pt x="8230" y="2754"/>
                    <a:pt x="8273" y="2723"/>
                  </a:cubicBezTo>
                  <a:cubicBezTo>
                    <a:pt x="8281" y="2717"/>
                    <a:pt x="8287" y="2708"/>
                    <a:pt x="8294" y="2700"/>
                  </a:cubicBezTo>
                  <a:cubicBezTo>
                    <a:pt x="8306" y="2687"/>
                    <a:pt x="8314" y="2670"/>
                    <a:pt x="8297" y="2657"/>
                  </a:cubicBezTo>
                  <a:cubicBezTo>
                    <a:pt x="8283" y="2645"/>
                    <a:pt x="8264" y="2650"/>
                    <a:pt x="8252" y="2664"/>
                  </a:cubicBezTo>
                  <a:cubicBezTo>
                    <a:pt x="8226" y="2693"/>
                    <a:pt x="8214" y="2731"/>
                    <a:pt x="8196" y="2766"/>
                  </a:cubicBezTo>
                  <a:cubicBezTo>
                    <a:pt x="8188" y="2780"/>
                    <a:pt x="8181" y="2797"/>
                    <a:pt x="8181" y="2813"/>
                  </a:cubicBezTo>
                  <a:cubicBezTo>
                    <a:pt x="8184" y="2877"/>
                    <a:pt x="8142" y="2915"/>
                    <a:pt x="8103" y="2955"/>
                  </a:cubicBezTo>
                  <a:cubicBezTo>
                    <a:pt x="8080" y="2979"/>
                    <a:pt x="8056" y="3003"/>
                    <a:pt x="8033" y="3027"/>
                  </a:cubicBezTo>
                  <a:cubicBezTo>
                    <a:pt x="8017" y="3044"/>
                    <a:pt x="8004" y="3039"/>
                    <a:pt x="7995" y="3020"/>
                  </a:cubicBezTo>
                  <a:cubicBezTo>
                    <a:pt x="7989" y="3004"/>
                    <a:pt x="7985" y="2988"/>
                    <a:pt x="7982" y="2972"/>
                  </a:cubicBezTo>
                  <a:cubicBezTo>
                    <a:pt x="7976" y="2928"/>
                    <a:pt x="7973" y="2885"/>
                    <a:pt x="7966" y="2842"/>
                  </a:cubicBezTo>
                  <a:cubicBezTo>
                    <a:pt x="7959" y="2791"/>
                    <a:pt x="7976" y="2751"/>
                    <a:pt x="8017" y="2722"/>
                  </a:cubicBezTo>
                  <a:cubicBezTo>
                    <a:pt x="8040" y="2706"/>
                    <a:pt x="8066" y="2686"/>
                    <a:pt x="8093" y="2682"/>
                  </a:cubicBezTo>
                  <a:cubicBezTo>
                    <a:pt x="8160" y="2672"/>
                    <a:pt x="8193" y="2617"/>
                    <a:pt x="8240" y="2582"/>
                  </a:cubicBezTo>
                  <a:cubicBezTo>
                    <a:pt x="8249" y="2576"/>
                    <a:pt x="8256" y="2566"/>
                    <a:pt x="8248" y="2556"/>
                  </a:cubicBezTo>
                  <a:cubicBezTo>
                    <a:pt x="8241" y="2547"/>
                    <a:pt x="8229" y="2547"/>
                    <a:pt x="8219" y="2550"/>
                  </a:cubicBezTo>
                  <a:cubicBezTo>
                    <a:pt x="8169" y="2570"/>
                    <a:pt x="8123" y="2598"/>
                    <a:pt x="8086" y="2640"/>
                  </a:cubicBezTo>
                  <a:cubicBezTo>
                    <a:pt x="8078" y="2650"/>
                    <a:pt x="8073" y="2661"/>
                    <a:pt x="8057" y="2655"/>
                  </a:cubicBezTo>
                  <a:cubicBezTo>
                    <a:pt x="8043" y="2650"/>
                    <a:pt x="8037" y="2640"/>
                    <a:pt x="8037" y="2627"/>
                  </a:cubicBezTo>
                  <a:cubicBezTo>
                    <a:pt x="8037" y="2558"/>
                    <a:pt x="8041" y="2489"/>
                    <a:pt x="8088" y="2433"/>
                  </a:cubicBezTo>
                  <a:cubicBezTo>
                    <a:pt x="8125" y="2388"/>
                    <a:pt x="8166" y="2381"/>
                    <a:pt x="8214" y="2411"/>
                  </a:cubicBezTo>
                  <a:cubicBezTo>
                    <a:pt x="8242" y="2429"/>
                    <a:pt x="8270" y="2447"/>
                    <a:pt x="8297" y="2465"/>
                  </a:cubicBezTo>
                  <a:cubicBezTo>
                    <a:pt x="8347" y="2499"/>
                    <a:pt x="8409" y="2497"/>
                    <a:pt x="8463" y="2517"/>
                  </a:cubicBezTo>
                  <a:cubicBezTo>
                    <a:pt x="8477" y="2522"/>
                    <a:pt x="8485" y="2508"/>
                    <a:pt x="8482" y="2493"/>
                  </a:cubicBezTo>
                  <a:cubicBezTo>
                    <a:pt x="8479" y="2476"/>
                    <a:pt x="8466" y="2464"/>
                    <a:pt x="8453" y="2454"/>
                  </a:cubicBezTo>
                  <a:cubicBezTo>
                    <a:pt x="8359" y="2375"/>
                    <a:pt x="8257" y="2314"/>
                    <a:pt x="8131" y="2302"/>
                  </a:cubicBezTo>
                  <a:cubicBezTo>
                    <a:pt x="8066" y="2295"/>
                    <a:pt x="8011" y="2320"/>
                    <a:pt x="7976" y="2373"/>
                  </a:cubicBezTo>
                  <a:cubicBezTo>
                    <a:pt x="7918" y="2462"/>
                    <a:pt x="7830" y="2485"/>
                    <a:pt x="7736" y="2498"/>
                  </a:cubicBezTo>
                  <a:cubicBezTo>
                    <a:pt x="7717" y="2501"/>
                    <a:pt x="7707" y="2489"/>
                    <a:pt x="7713" y="2472"/>
                  </a:cubicBezTo>
                  <a:cubicBezTo>
                    <a:pt x="7738" y="2393"/>
                    <a:pt x="7772" y="2321"/>
                    <a:pt x="7860" y="2293"/>
                  </a:cubicBezTo>
                  <a:cubicBezTo>
                    <a:pt x="7866" y="2292"/>
                    <a:pt x="7872" y="2289"/>
                    <a:pt x="7877" y="2286"/>
                  </a:cubicBezTo>
                  <a:cubicBezTo>
                    <a:pt x="7892" y="2278"/>
                    <a:pt x="7892" y="2269"/>
                    <a:pt x="7878" y="2259"/>
                  </a:cubicBezTo>
                  <a:cubicBezTo>
                    <a:pt x="7861" y="2246"/>
                    <a:pt x="7843" y="2250"/>
                    <a:pt x="7824" y="2255"/>
                  </a:cubicBezTo>
                  <a:cubicBezTo>
                    <a:pt x="7757" y="2273"/>
                    <a:pt x="7714" y="2319"/>
                    <a:pt x="7681" y="2376"/>
                  </a:cubicBezTo>
                  <a:cubicBezTo>
                    <a:pt x="7664" y="2405"/>
                    <a:pt x="7648" y="2434"/>
                    <a:pt x="7628" y="2461"/>
                  </a:cubicBezTo>
                  <a:cubicBezTo>
                    <a:pt x="7606" y="2490"/>
                    <a:pt x="7581" y="2512"/>
                    <a:pt x="7547" y="2528"/>
                  </a:cubicBezTo>
                  <a:cubicBezTo>
                    <a:pt x="7523" y="2539"/>
                    <a:pt x="7502" y="2557"/>
                    <a:pt x="7479" y="2571"/>
                  </a:cubicBezTo>
                  <a:cubicBezTo>
                    <a:pt x="7468" y="2578"/>
                    <a:pt x="7455" y="2579"/>
                    <a:pt x="7444" y="2572"/>
                  </a:cubicBezTo>
                  <a:cubicBezTo>
                    <a:pt x="7432" y="2563"/>
                    <a:pt x="7430" y="2551"/>
                    <a:pt x="7435" y="2538"/>
                  </a:cubicBezTo>
                  <a:cubicBezTo>
                    <a:pt x="7457" y="2471"/>
                    <a:pt x="7483" y="2406"/>
                    <a:pt x="7531" y="2352"/>
                  </a:cubicBezTo>
                  <a:cubicBezTo>
                    <a:pt x="7543" y="2339"/>
                    <a:pt x="7554" y="2327"/>
                    <a:pt x="7571" y="2323"/>
                  </a:cubicBezTo>
                  <a:cubicBezTo>
                    <a:pt x="7595" y="2318"/>
                    <a:pt x="7604" y="2301"/>
                    <a:pt x="7611" y="2277"/>
                  </a:cubicBezTo>
                  <a:cubicBezTo>
                    <a:pt x="7553" y="2273"/>
                    <a:pt x="7509" y="2297"/>
                    <a:pt x="7473" y="2336"/>
                  </a:cubicBezTo>
                  <a:cubicBezTo>
                    <a:pt x="7439" y="2372"/>
                    <a:pt x="7402" y="2408"/>
                    <a:pt x="7376" y="2450"/>
                  </a:cubicBezTo>
                  <a:cubicBezTo>
                    <a:pt x="7347" y="2496"/>
                    <a:pt x="7302" y="2514"/>
                    <a:pt x="7259" y="2538"/>
                  </a:cubicBezTo>
                  <a:cubicBezTo>
                    <a:pt x="7252" y="2543"/>
                    <a:pt x="7244" y="2545"/>
                    <a:pt x="7235" y="2542"/>
                  </a:cubicBezTo>
                  <a:cubicBezTo>
                    <a:pt x="7189" y="2531"/>
                    <a:pt x="7165" y="2467"/>
                    <a:pt x="7180" y="2423"/>
                  </a:cubicBezTo>
                  <a:cubicBezTo>
                    <a:pt x="7211" y="2337"/>
                    <a:pt x="7284" y="2314"/>
                    <a:pt x="7358" y="2296"/>
                  </a:cubicBezTo>
                  <a:cubicBezTo>
                    <a:pt x="7415" y="2282"/>
                    <a:pt x="7465" y="2251"/>
                    <a:pt x="7522" y="2236"/>
                  </a:cubicBezTo>
                  <a:cubicBezTo>
                    <a:pt x="7530" y="2234"/>
                    <a:pt x="7537" y="2227"/>
                    <a:pt x="7537" y="2218"/>
                  </a:cubicBezTo>
                  <a:cubicBezTo>
                    <a:pt x="7536" y="2206"/>
                    <a:pt x="7527" y="2201"/>
                    <a:pt x="7515" y="2201"/>
                  </a:cubicBezTo>
                  <a:cubicBezTo>
                    <a:pt x="7471" y="2202"/>
                    <a:pt x="7442" y="2176"/>
                    <a:pt x="7418" y="2143"/>
                  </a:cubicBezTo>
                  <a:cubicBezTo>
                    <a:pt x="7387" y="2102"/>
                    <a:pt x="7349" y="2087"/>
                    <a:pt x="7298" y="2102"/>
                  </a:cubicBezTo>
                  <a:cubicBezTo>
                    <a:pt x="7234" y="2121"/>
                    <a:pt x="7172" y="2112"/>
                    <a:pt x="7109" y="2087"/>
                  </a:cubicBezTo>
                  <a:cubicBezTo>
                    <a:pt x="7036" y="2059"/>
                    <a:pt x="6961" y="2031"/>
                    <a:pt x="6885" y="2011"/>
                  </a:cubicBezTo>
                  <a:cubicBezTo>
                    <a:pt x="6786" y="1985"/>
                    <a:pt x="6720" y="2013"/>
                    <a:pt x="6666" y="2096"/>
                  </a:cubicBezTo>
                  <a:cubicBezTo>
                    <a:pt x="6654" y="2113"/>
                    <a:pt x="6641" y="2130"/>
                    <a:pt x="6635" y="2150"/>
                  </a:cubicBezTo>
                  <a:cubicBezTo>
                    <a:pt x="6616" y="2212"/>
                    <a:pt x="6565" y="2241"/>
                    <a:pt x="6517" y="2273"/>
                  </a:cubicBezTo>
                  <a:cubicBezTo>
                    <a:pt x="6490" y="2291"/>
                    <a:pt x="6472" y="2283"/>
                    <a:pt x="6470" y="2251"/>
                  </a:cubicBezTo>
                  <a:cubicBezTo>
                    <a:pt x="6467" y="2205"/>
                    <a:pt x="6471" y="2160"/>
                    <a:pt x="6502" y="2121"/>
                  </a:cubicBezTo>
                  <a:cubicBezTo>
                    <a:pt x="6527" y="2090"/>
                    <a:pt x="6557" y="2064"/>
                    <a:pt x="6590" y="2042"/>
                  </a:cubicBezTo>
                  <a:cubicBezTo>
                    <a:pt x="6602" y="2035"/>
                    <a:pt x="6616" y="2030"/>
                    <a:pt x="6624" y="2016"/>
                  </a:cubicBezTo>
                  <a:cubicBezTo>
                    <a:pt x="6632" y="1999"/>
                    <a:pt x="6624" y="1981"/>
                    <a:pt x="6608" y="1985"/>
                  </a:cubicBezTo>
                  <a:cubicBezTo>
                    <a:pt x="6557" y="1997"/>
                    <a:pt x="6508" y="2016"/>
                    <a:pt x="6466" y="2046"/>
                  </a:cubicBezTo>
                  <a:cubicBezTo>
                    <a:pt x="6438" y="2065"/>
                    <a:pt x="6431" y="2101"/>
                    <a:pt x="6426" y="2134"/>
                  </a:cubicBezTo>
                  <a:cubicBezTo>
                    <a:pt x="6423" y="2153"/>
                    <a:pt x="6423" y="2172"/>
                    <a:pt x="6422" y="2190"/>
                  </a:cubicBezTo>
                  <a:cubicBezTo>
                    <a:pt x="6419" y="2275"/>
                    <a:pt x="6379" y="2346"/>
                    <a:pt x="6336" y="2415"/>
                  </a:cubicBezTo>
                  <a:cubicBezTo>
                    <a:pt x="6316" y="2448"/>
                    <a:pt x="6295" y="2444"/>
                    <a:pt x="6278" y="2408"/>
                  </a:cubicBezTo>
                  <a:cubicBezTo>
                    <a:pt x="6265" y="2382"/>
                    <a:pt x="6253" y="2356"/>
                    <a:pt x="6242" y="2329"/>
                  </a:cubicBezTo>
                  <a:cubicBezTo>
                    <a:pt x="6226" y="2288"/>
                    <a:pt x="6224" y="2248"/>
                    <a:pt x="6246" y="2208"/>
                  </a:cubicBezTo>
                  <a:cubicBezTo>
                    <a:pt x="6250" y="2201"/>
                    <a:pt x="6254" y="2194"/>
                    <a:pt x="6258" y="2186"/>
                  </a:cubicBezTo>
                  <a:cubicBezTo>
                    <a:pt x="6263" y="2175"/>
                    <a:pt x="6270" y="2161"/>
                    <a:pt x="6256" y="2152"/>
                  </a:cubicBezTo>
                  <a:cubicBezTo>
                    <a:pt x="6244" y="2144"/>
                    <a:pt x="6233" y="2152"/>
                    <a:pt x="6225" y="2163"/>
                  </a:cubicBezTo>
                  <a:cubicBezTo>
                    <a:pt x="6199" y="2201"/>
                    <a:pt x="6174" y="2241"/>
                    <a:pt x="6179" y="2289"/>
                  </a:cubicBezTo>
                  <a:cubicBezTo>
                    <a:pt x="6184" y="2340"/>
                    <a:pt x="6164" y="2387"/>
                    <a:pt x="6170" y="2438"/>
                  </a:cubicBezTo>
                  <a:cubicBezTo>
                    <a:pt x="6173" y="2463"/>
                    <a:pt x="6154" y="2478"/>
                    <a:pt x="6133" y="2491"/>
                  </a:cubicBezTo>
                  <a:cubicBezTo>
                    <a:pt x="6091" y="2516"/>
                    <a:pt x="6042" y="2519"/>
                    <a:pt x="5996" y="2529"/>
                  </a:cubicBezTo>
                  <a:cubicBezTo>
                    <a:pt x="5974" y="2534"/>
                    <a:pt x="5963" y="2516"/>
                    <a:pt x="5961" y="2495"/>
                  </a:cubicBezTo>
                  <a:cubicBezTo>
                    <a:pt x="5955" y="2441"/>
                    <a:pt x="5968" y="2389"/>
                    <a:pt x="5997" y="2347"/>
                  </a:cubicBezTo>
                  <a:cubicBezTo>
                    <a:pt x="6051" y="2266"/>
                    <a:pt x="6107" y="2186"/>
                    <a:pt x="6178" y="2117"/>
                  </a:cubicBezTo>
                  <a:cubicBezTo>
                    <a:pt x="6187" y="2109"/>
                    <a:pt x="6197" y="2100"/>
                    <a:pt x="6205" y="2091"/>
                  </a:cubicBezTo>
                  <a:cubicBezTo>
                    <a:pt x="6214" y="2082"/>
                    <a:pt x="6221" y="2070"/>
                    <a:pt x="6216" y="2057"/>
                  </a:cubicBezTo>
                  <a:cubicBezTo>
                    <a:pt x="6210" y="2043"/>
                    <a:pt x="6196" y="2045"/>
                    <a:pt x="6183" y="2046"/>
                  </a:cubicBezTo>
                  <a:cubicBezTo>
                    <a:pt x="6157" y="2047"/>
                    <a:pt x="6134" y="2038"/>
                    <a:pt x="6113" y="2024"/>
                  </a:cubicBezTo>
                  <a:cubicBezTo>
                    <a:pt x="6082" y="2003"/>
                    <a:pt x="6049" y="1994"/>
                    <a:pt x="6013" y="2009"/>
                  </a:cubicBezTo>
                  <a:cubicBezTo>
                    <a:pt x="5999" y="2014"/>
                    <a:pt x="5983" y="2018"/>
                    <a:pt x="5973" y="2003"/>
                  </a:cubicBezTo>
                  <a:cubicBezTo>
                    <a:pt x="5964" y="1988"/>
                    <a:pt x="5972" y="1973"/>
                    <a:pt x="5984" y="1964"/>
                  </a:cubicBezTo>
                  <a:cubicBezTo>
                    <a:pt x="6043" y="1922"/>
                    <a:pt x="6095" y="1870"/>
                    <a:pt x="6177" y="1874"/>
                  </a:cubicBezTo>
                  <a:cubicBezTo>
                    <a:pt x="6223" y="1876"/>
                    <a:pt x="6263" y="1891"/>
                    <a:pt x="6298" y="1916"/>
                  </a:cubicBezTo>
                  <a:cubicBezTo>
                    <a:pt x="6341" y="1948"/>
                    <a:pt x="6380" y="1956"/>
                    <a:pt x="6430" y="1931"/>
                  </a:cubicBezTo>
                  <a:cubicBezTo>
                    <a:pt x="6463" y="1914"/>
                    <a:pt x="6503" y="1916"/>
                    <a:pt x="6540" y="1913"/>
                  </a:cubicBezTo>
                  <a:cubicBezTo>
                    <a:pt x="6553" y="1912"/>
                    <a:pt x="6565" y="1913"/>
                    <a:pt x="6578" y="1912"/>
                  </a:cubicBezTo>
                  <a:cubicBezTo>
                    <a:pt x="6591" y="1910"/>
                    <a:pt x="6601" y="1903"/>
                    <a:pt x="6601" y="1888"/>
                  </a:cubicBezTo>
                  <a:cubicBezTo>
                    <a:pt x="6601" y="1877"/>
                    <a:pt x="6594" y="1867"/>
                    <a:pt x="6583" y="1866"/>
                  </a:cubicBezTo>
                  <a:cubicBezTo>
                    <a:pt x="6509" y="1857"/>
                    <a:pt x="6484" y="1790"/>
                    <a:pt x="6442" y="1745"/>
                  </a:cubicBezTo>
                  <a:cubicBezTo>
                    <a:pt x="6430" y="1732"/>
                    <a:pt x="6419" y="1715"/>
                    <a:pt x="6424" y="1692"/>
                  </a:cubicBezTo>
                  <a:cubicBezTo>
                    <a:pt x="6463" y="1677"/>
                    <a:pt x="6503" y="1688"/>
                    <a:pt x="6539" y="1701"/>
                  </a:cubicBezTo>
                  <a:cubicBezTo>
                    <a:pt x="6605" y="1725"/>
                    <a:pt x="6669" y="1757"/>
                    <a:pt x="6713" y="1816"/>
                  </a:cubicBezTo>
                  <a:cubicBezTo>
                    <a:pt x="6750" y="1867"/>
                    <a:pt x="6795" y="1902"/>
                    <a:pt x="6859" y="1911"/>
                  </a:cubicBezTo>
                  <a:cubicBezTo>
                    <a:pt x="6940" y="1922"/>
                    <a:pt x="7012" y="1961"/>
                    <a:pt x="7092" y="1977"/>
                  </a:cubicBezTo>
                  <a:cubicBezTo>
                    <a:pt x="7102" y="1979"/>
                    <a:pt x="7113" y="1982"/>
                    <a:pt x="7123" y="1982"/>
                  </a:cubicBezTo>
                  <a:cubicBezTo>
                    <a:pt x="7141" y="1983"/>
                    <a:pt x="7153" y="1965"/>
                    <a:pt x="7140" y="1954"/>
                  </a:cubicBezTo>
                  <a:cubicBezTo>
                    <a:pt x="7083" y="1909"/>
                    <a:pt x="7068" y="1839"/>
                    <a:pt x="7035" y="1780"/>
                  </a:cubicBezTo>
                  <a:cubicBezTo>
                    <a:pt x="7020" y="1755"/>
                    <a:pt x="7002" y="1744"/>
                    <a:pt x="6975" y="1744"/>
                  </a:cubicBezTo>
                  <a:cubicBezTo>
                    <a:pt x="6948" y="1745"/>
                    <a:pt x="6919" y="1740"/>
                    <a:pt x="6894" y="1746"/>
                  </a:cubicBezTo>
                  <a:cubicBezTo>
                    <a:pt x="6812" y="1765"/>
                    <a:pt x="6737" y="1736"/>
                    <a:pt x="6661" y="1717"/>
                  </a:cubicBezTo>
                  <a:cubicBezTo>
                    <a:pt x="6626" y="1708"/>
                    <a:pt x="6619" y="1683"/>
                    <a:pt x="6644" y="1657"/>
                  </a:cubicBezTo>
                  <a:cubicBezTo>
                    <a:pt x="6707" y="1591"/>
                    <a:pt x="6777" y="1544"/>
                    <a:pt x="6876" y="1574"/>
                  </a:cubicBezTo>
                  <a:cubicBezTo>
                    <a:pt x="6894" y="1580"/>
                    <a:pt x="6911" y="1585"/>
                    <a:pt x="6925" y="1599"/>
                  </a:cubicBezTo>
                  <a:cubicBezTo>
                    <a:pt x="6935" y="1610"/>
                    <a:pt x="6946" y="1619"/>
                    <a:pt x="6958" y="1628"/>
                  </a:cubicBezTo>
                  <a:cubicBezTo>
                    <a:pt x="6973" y="1639"/>
                    <a:pt x="6991" y="1649"/>
                    <a:pt x="7010" y="1640"/>
                  </a:cubicBezTo>
                  <a:cubicBezTo>
                    <a:pt x="7028" y="1631"/>
                    <a:pt x="7024" y="1612"/>
                    <a:pt x="7024" y="1595"/>
                  </a:cubicBezTo>
                  <a:cubicBezTo>
                    <a:pt x="7024" y="1577"/>
                    <a:pt x="7027" y="1558"/>
                    <a:pt x="7028" y="1539"/>
                  </a:cubicBezTo>
                  <a:cubicBezTo>
                    <a:pt x="7032" y="1483"/>
                    <a:pt x="7017" y="1451"/>
                    <a:pt x="6964" y="1441"/>
                  </a:cubicBezTo>
                  <a:cubicBezTo>
                    <a:pt x="6885" y="1425"/>
                    <a:pt x="6858" y="1367"/>
                    <a:pt x="6836" y="1303"/>
                  </a:cubicBezTo>
                  <a:cubicBezTo>
                    <a:pt x="6819" y="1256"/>
                    <a:pt x="6820" y="1205"/>
                    <a:pt x="6813" y="1155"/>
                  </a:cubicBezTo>
                  <a:cubicBezTo>
                    <a:pt x="6810" y="1133"/>
                    <a:pt x="6829" y="1131"/>
                    <a:pt x="6842" y="1138"/>
                  </a:cubicBezTo>
                  <a:cubicBezTo>
                    <a:pt x="6909" y="1172"/>
                    <a:pt x="6977" y="1204"/>
                    <a:pt x="7006" y="1281"/>
                  </a:cubicBezTo>
                  <a:cubicBezTo>
                    <a:pt x="7013" y="1301"/>
                    <a:pt x="7021" y="1320"/>
                    <a:pt x="7029" y="1340"/>
                  </a:cubicBezTo>
                  <a:cubicBezTo>
                    <a:pt x="7034" y="1352"/>
                    <a:pt x="7040" y="1362"/>
                    <a:pt x="7056" y="1360"/>
                  </a:cubicBezTo>
                  <a:cubicBezTo>
                    <a:pt x="7067" y="1358"/>
                    <a:pt x="7075" y="1352"/>
                    <a:pt x="7079" y="1341"/>
                  </a:cubicBezTo>
                  <a:cubicBezTo>
                    <a:pt x="7090" y="1304"/>
                    <a:pt x="7105" y="1266"/>
                    <a:pt x="7089" y="1226"/>
                  </a:cubicBezTo>
                  <a:cubicBezTo>
                    <a:pt x="7074" y="1191"/>
                    <a:pt x="7062" y="1156"/>
                    <a:pt x="7048" y="1121"/>
                  </a:cubicBezTo>
                  <a:cubicBezTo>
                    <a:pt x="7039" y="1096"/>
                    <a:pt x="7041" y="1073"/>
                    <a:pt x="7058" y="1050"/>
                  </a:cubicBezTo>
                  <a:cubicBezTo>
                    <a:pt x="7081" y="1021"/>
                    <a:pt x="7103" y="990"/>
                    <a:pt x="7096" y="949"/>
                  </a:cubicBezTo>
                  <a:cubicBezTo>
                    <a:pt x="7093" y="932"/>
                    <a:pt x="7105" y="922"/>
                    <a:pt x="7120" y="917"/>
                  </a:cubicBezTo>
                  <a:cubicBezTo>
                    <a:pt x="7134" y="912"/>
                    <a:pt x="7145" y="919"/>
                    <a:pt x="7154" y="927"/>
                  </a:cubicBezTo>
                  <a:cubicBezTo>
                    <a:pt x="7239" y="1007"/>
                    <a:pt x="7262" y="1167"/>
                    <a:pt x="7193" y="1239"/>
                  </a:cubicBezTo>
                  <a:cubicBezTo>
                    <a:pt x="7189" y="1244"/>
                    <a:pt x="7185" y="1249"/>
                    <a:pt x="7182" y="1254"/>
                  </a:cubicBezTo>
                  <a:cubicBezTo>
                    <a:pt x="7172" y="1270"/>
                    <a:pt x="7157" y="1291"/>
                    <a:pt x="7173" y="1304"/>
                  </a:cubicBezTo>
                  <a:cubicBezTo>
                    <a:pt x="7192" y="1321"/>
                    <a:pt x="7204" y="1295"/>
                    <a:pt x="7216" y="1283"/>
                  </a:cubicBezTo>
                  <a:cubicBezTo>
                    <a:pt x="7247" y="1252"/>
                    <a:pt x="7289" y="1236"/>
                    <a:pt x="7327" y="1215"/>
                  </a:cubicBezTo>
                  <a:cubicBezTo>
                    <a:pt x="7350" y="1202"/>
                    <a:pt x="7358" y="1210"/>
                    <a:pt x="7362" y="1240"/>
                  </a:cubicBezTo>
                  <a:cubicBezTo>
                    <a:pt x="7365" y="1267"/>
                    <a:pt x="7377" y="1273"/>
                    <a:pt x="7397" y="1260"/>
                  </a:cubicBezTo>
                  <a:cubicBezTo>
                    <a:pt x="7399" y="1258"/>
                    <a:pt x="7401" y="1257"/>
                    <a:pt x="7402" y="1255"/>
                  </a:cubicBezTo>
                  <a:cubicBezTo>
                    <a:pt x="7440" y="1200"/>
                    <a:pt x="7495" y="1212"/>
                    <a:pt x="7548" y="1219"/>
                  </a:cubicBezTo>
                  <a:cubicBezTo>
                    <a:pt x="7631" y="1229"/>
                    <a:pt x="7700" y="1273"/>
                    <a:pt x="7773" y="1308"/>
                  </a:cubicBezTo>
                  <a:cubicBezTo>
                    <a:pt x="7817" y="1329"/>
                    <a:pt x="7861" y="1352"/>
                    <a:pt x="7902" y="1381"/>
                  </a:cubicBezTo>
                  <a:cubicBezTo>
                    <a:pt x="7929" y="1400"/>
                    <a:pt x="7950" y="1387"/>
                    <a:pt x="7944" y="1355"/>
                  </a:cubicBezTo>
                  <a:cubicBezTo>
                    <a:pt x="7930" y="1289"/>
                    <a:pt x="7967" y="1244"/>
                    <a:pt x="8002" y="1198"/>
                  </a:cubicBezTo>
                  <a:cubicBezTo>
                    <a:pt x="8037" y="1152"/>
                    <a:pt x="8038" y="1145"/>
                    <a:pt x="8006" y="1101"/>
                  </a:cubicBezTo>
                  <a:cubicBezTo>
                    <a:pt x="7970" y="1052"/>
                    <a:pt x="7928" y="1010"/>
                    <a:pt x="7880" y="972"/>
                  </a:cubicBezTo>
                  <a:cubicBezTo>
                    <a:pt x="7844" y="944"/>
                    <a:pt x="7805" y="935"/>
                    <a:pt x="7763" y="950"/>
                  </a:cubicBezTo>
                  <a:cubicBezTo>
                    <a:pt x="7701" y="972"/>
                    <a:pt x="7647" y="959"/>
                    <a:pt x="7590" y="931"/>
                  </a:cubicBezTo>
                  <a:cubicBezTo>
                    <a:pt x="7547" y="910"/>
                    <a:pt x="7503" y="891"/>
                    <a:pt x="7465" y="862"/>
                  </a:cubicBezTo>
                  <a:cubicBezTo>
                    <a:pt x="7430" y="835"/>
                    <a:pt x="7434" y="823"/>
                    <a:pt x="7476" y="805"/>
                  </a:cubicBezTo>
                  <a:cubicBezTo>
                    <a:pt x="7560" y="770"/>
                    <a:pt x="7641" y="772"/>
                    <a:pt x="7720" y="821"/>
                  </a:cubicBezTo>
                  <a:cubicBezTo>
                    <a:pt x="7725" y="825"/>
                    <a:pt x="7730" y="829"/>
                    <a:pt x="7736" y="831"/>
                  </a:cubicBezTo>
                  <a:cubicBezTo>
                    <a:pt x="7744" y="834"/>
                    <a:pt x="7752" y="835"/>
                    <a:pt x="7758" y="827"/>
                  </a:cubicBezTo>
                  <a:cubicBezTo>
                    <a:pt x="7764" y="819"/>
                    <a:pt x="7758" y="812"/>
                    <a:pt x="7753" y="805"/>
                  </a:cubicBezTo>
                  <a:cubicBezTo>
                    <a:pt x="7710" y="750"/>
                    <a:pt x="7652" y="721"/>
                    <a:pt x="7583" y="740"/>
                  </a:cubicBezTo>
                  <a:cubicBezTo>
                    <a:pt x="7484" y="769"/>
                    <a:pt x="7390" y="750"/>
                    <a:pt x="7295" y="722"/>
                  </a:cubicBezTo>
                  <a:cubicBezTo>
                    <a:pt x="7285" y="719"/>
                    <a:pt x="7275" y="717"/>
                    <a:pt x="7266" y="712"/>
                  </a:cubicBezTo>
                  <a:cubicBezTo>
                    <a:pt x="7250" y="701"/>
                    <a:pt x="7242" y="686"/>
                    <a:pt x="7258" y="671"/>
                  </a:cubicBezTo>
                  <a:cubicBezTo>
                    <a:pt x="7308" y="623"/>
                    <a:pt x="7362" y="581"/>
                    <a:pt x="7437" y="581"/>
                  </a:cubicBezTo>
                  <a:cubicBezTo>
                    <a:pt x="7471" y="580"/>
                    <a:pt x="7495" y="602"/>
                    <a:pt x="7522" y="615"/>
                  </a:cubicBezTo>
                  <a:cubicBezTo>
                    <a:pt x="7539" y="623"/>
                    <a:pt x="7552" y="638"/>
                    <a:pt x="7572" y="640"/>
                  </a:cubicBezTo>
                  <a:cubicBezTo>
                    <a:pt x="7581" y="640"/>
                    <a:pt x="7590" y="640"/>
                    <a:pt x="7595" y="632"/>
                  </a:cubicBezTo>
                  <a:cubicBezTo>
                    <a:pt x="7600" y="624"/>
                    <a:pt x="7596" y="617"/>
                    <a:pt x="7589" y="611"/>
                  </a:cubicBezTo>
                  <a:cubicBezTo>
                    <a:pt x="7519" y="546"/>
                    <a:pt x="7447" y="516"/>
                    <a:pt x="7358" y="561"/>
                  </a:cubicBezTo>
                  <a:cubicBezTo>
                    <a:pt x="7301" y="590"/>
                    <a:pt x="7240" y="583"/>
                    <a:pt x="7182" y="560"/>
                  </a:cubicBezTo>
                  <a:cubicBezTo>
                    <a:pt x="7161" y="551"/>
                    <a:pt x="7126" y="556"/>
                    <a:pt x="7121" y="526"/>
                  </a:cubicBezTo>
                  <a:cubicBezTo>
                    <a:pt x="7115" y="491"/>
                    <a:pt x="7153" y="487"/>
                    <a:pt x="7172" y="471"/>
                  </a:cubicBezTo>
                  <a:cubicBezTo>
                    <a:pt x="7212" y="436"/>
                    <a:pt x="7259" y="416"/>
                    <a:pt x="7310" y="404"/>
                  </a:cubicBezTo>
                  <a:cubicBezTo>
                    <a:pt x="7353" y="393"/>
                    <a:pt x="7393" y="399"/>
                    <a:pt x="7430" y="422"/>
                  </a:cubicBezTo>
                  <a:cubicBezTo>
                    <a:pt x="7482" y="453"/>
                    <a:pt x="7533" y="484"/>
                    <a:pt x="7585" y="515"/>
                  </a:cubicBezTo>
                  <a:cubicBezTo>
                    <a:pt x="7590" y="518"/>
                    <a:pt x="7595" y="522"/>
                    <a:pt x="7601" y="525"/>
                  </a:cubicBezTo>
                  <a:cubicBezTo>
                    <a:pt x="7611" y="529"/>
                    <a:pt x="7622" y="529"/>
                    <a:pt x="7630" y="522"/>
                  </a:cubicBezTo>
                  <a:cubicBezTo>
                    <a:pt x="7639" y="514"/>
                    <a:pt x="7638" y="504"/>
                    <a:pt x="7634" y="493"/>
                  </a:cubicBezTo>
                  <a:cubicBezTo>
                    <a:pt x="7620" y="454"/>
                    <a:pt x="7613" y="415"/>
                    <a:pt x="7625" y="372"/>
                  </a:cubicBezTo>
                  <a:cubicBezTo>
                    <a:pt x="7638" y="324"/>
                    <a:pt x="7669" y="293"/>
                    <a:pt x="7702" y="261"/>
                  </a:cubicBezTo>
                  <a:cubicBezTo>
                    <a:pt x="7717" y="247"/>
                    <a:pt x="7732" y="249"/>
                    <a:pt x="7742" y="269"/>
                  </a:cubicBezTo>
                  <a:cubicBezTo>
                    <a:pt x="7775" y="332"/>
                    <a:pt x="7802" y="397"/>
                    <a:pt x="7798" y="470"/>
                  </a:cubicBezTo>
                  <a:cubicBezTo>
                    <a:pt x="7796" y="513"/>
                    <a:pt x="7774" y="551"/>
                    <a:pt x="7756" y="586"/>
                  </a:cubicBezTo>
                  <a:cubicBezTo>
                    <a:pt x="7728" y="637"/>
                    <a:pt x="7757" y="669"/>
                    <a:pt x="7776" y="707"/>
                  </a:cubicBezTo>
                  <a:cubicBezTo>
                    <a:pt x="7780" y="716"/>
                    <a:pt x="7791" y="721"/>
                    <a:pt x="7802" y="718"/>
                  </a:cubicBezTo>
                  <a:cubicBezTo>
                    <a:pt x="7814" y="715"/>
                    <a:pt x="7819" y="706"/>
                    <a:pt x="7819" y="695"/>
                  </a:cubicBezTo>
                  <a:cubicBezTo>
                    <a:pt x="7821" y="660"/>
                    <a:pt x="7842" y="634"/>
                    <a:pt x="7858" y="604"/>
                  </a:cubicBezTo>
                  <a:cubicBezTo>
                    <a:pt x="7869" y="583"/>
                    <a:pt x="7885" y="568"/>
                    <a:pt x="7904" y="554"/>
                  </a:cubicBezTo>
                  <a:cubicBezTo>
                    <a:pt x="7952" y="519"/>
                    <a:pt x="7957" y="521"/>
                    <a:pt x="7977" y="579"/>
                  </a:cubicBezTo>
                  <a:cubicBezTo>
                    <a:pt x="7983" y="595"/>
                    <a:pt x="7990" y="610"/>
                    <a:pt x="7996" y="626"/>
                  </a:cubicBezTo>
                  <a:cubicBezTo>
                    <a:pt x="8017" y="691"/>
                    <a:pt x="8008" y="748"/>
                    <a:pt x="7957" y="798"/>
                  </a:cubicBezTo>
                  <a:cubicBezTo>
                    <a:pt x="7920" y="833"/>
                    <a:pt x="7919" y="848"/>
                    <a:pt x="7953" y="885"/>
                  </a:cubicBezTo>
                  <a:cubicBezTo>
                    <a:pt x="8017" y="955"/>
                    <a:pt x="8068" y="1033"/>
                    <a:pt x="8120" y="1111"/>
                  </a:cubicBezTo>
                  <a:cubicBezTo>
                    <a:pt x="8130" y="1127"/>
                    <a:pt x="8138" y="1154"/>
                    <a:pt x="8164" y="1147"/>
                  </a:cubicBezTo>
                  <a:cubicBezTo>
                    <a:pt x="8187" y="1140"/>
                    <a:pt x="8182" y="1115"/>
                    <a:pt x="8182" y="1098"/>
                  </a:cubicBezTo>
                  <a:cubicBezTo>
                    <a:pt x="8181" y="1026"/>
                    <a:pt x="8200" y="963"/>
                    <a:pt x="8248" y="908"/>
                  </a:cubicBezTo>
                  <a:cubicBezTo>
                    <a:pt x="8258" y="898"/>
                    <a:pt x="8261" y="882"/>
                    <a:pt x="8269" y="870"/>
                  </a:cubicBezTo>
                  <a:cubicBezTo>
                    <a:pt x="8285" y="851"/>
                    <a:pt x="8278" y="834"/>
                    <a:pt x="8262" y="822"/>
                  </a:cubicBezTo>
                  <a:cubicBezTo>
                    <a:pt x="8239" y="803"/>
                    <a:pt x="8225" y="778"/>
                    <a:pt x="8208" y="754"/>
                  </a:cubicBezTo>
                  <a:cubicBezTo>
                    <a:pt x="8183" y="718"/>
                    <a:pt x="8173" y="680"/>
                    <a:pt x="8173" y="636"/>
                  </a:cubicBezTo>
                  <a:cubicBezTo>
                    <a:pt x="8173" y="597"/>
                    <a:pt x="8177" y="558"/>
                    <a:pt x="8166" y="518"/>
                  </a:cubicBezTo>
                  <a:cubicBezTo>
                    <a:pt x="8159" y="489"/>
                    <a:pt x="8174" y="477"/>
                    <a:pt x="8205" y="485"/>
                  </a:cubicBezTo>
                  <a:cubicBezTo>
                    <a:pt x="8325" y="516"/>
                    <a:pt x="8353" y="559"/>
                    <a:pt x="8368" y="702"/>
                  </a:cubicBezTo>
                  <a:cubicBezTo>
                    <a:pt x="8370" y="720"/>
                    <a:pt x="8365" y="739"/>
                    <a:pt x="8367" y="758"/>
                  </a:cubicBezTo>
                  <a:cubicBezTo>
                    <a:pt x="8370" y="782"/>
                    <a:pt x="8390" y="790"/>
                    <a:pt x="8406" y="772"/>
                  </a:cubicBezTo>
                  <a:cubicBezTo>
                    <a:pt x="8436" y="742"/>
                    <a:pt x="8468" y="718"/>
                    <a:pt x="8507" y="701"/>
                  </a:cubicBezTo>
                  <a:cubicBezTo>
                    <a:pt x="8525" y="693"/>
                    <a:pt x="8535" y="675"/>
                    <a:pt x="8530" y="654"/>
                  </a:cubicBezTo>
                  <a:cubicBezTo>
                    <a:pt x="8513" y="584"/>
                    <a:pt x="8559" y="542"/>
                    <a:pt x="8596" y="495"/>
                  </a:cubicBezTo>
                  <a:cubicBezTo>
                    <a:pt x="8605" y="484"/>
                    <a:pt x="8618" y="475"/>
                    <a:pt x="8628" y="465"/>
                  </a:cubicBezTo>
                  <a:cubicBezTo>
                    <a:pt x="8655" y="436"/>
                    <a:pt x="8683" y="408"/>
                    <a:pt x="8678" y="363"/>
                  </a:cubicBezTo>
                  <a:cubicBezTo>
                    <a:pt x="8677" y="353"/>
                    <a:pt x="8681" y="341"/>
                    <a:pt x="8694" y="339"/>
                  </a:cubicBezTo>
                  <a:cubicBezTo>
                    <a:pt x="8706" y="338"/>
                    <a:pt x="8714" y="346"/>
                    <a:pt x="8718" y="355"/>
                  </a:cubicBezTo>
                  <a:cubicBezTo>
                    <a:pt x="8723" y="367"/>
                    <a:pt x="8728" y="379"/>
                    <a:pt x="8729" y="391"/>
                  </a:cubicBezTo>
                  <a:cubicBezTo>
                    <a:pt x="8736" y="447"/>
                    <a:pt x="8738" y="503"/>
                    <a:pt x="8725" y="558"/>
                  </a:cubicBezTo>
                  <a:cubicBezTo>
                    <a:pt x="8718" y="589"/>
                    <a:pt x="8711" y="620"/>
                    <a:pt x="8678" y="635"/>
                  </a:cubicBezTo>
                  <a:cubicBezTo>
                    <a:pt x="8665" y="640"/>
                    <a:pt x="8660" y="653"/>
                    <a:pt x="8666" y="666"/>
                  </a:cubicBezTo>
                  <a:cubicBezTo>
                    <a:pt x="8671" y="677"/>
                    <a:pt x="8682" y="678"/>
                    <a:pt x="8693" y="678"/>
                  </a:cubicBezTo>
                  <a:cubicBezTo>
                    <a:pt x="8720" y="679"/>
                    <a:pt x="8742" y="670"/>
                    <a:pt x="8759" y="649"/>
                  </a:cubicBezTo>
                  <a:cubicBezTo>
                    <a:pt x="8769" y="636"/>
                    <a:pt x="8779" y="623"/>
                    <a:pt x="8789" y="610"/>
                  </a:cubicBezTo>
                  <a:cubicBezTo>
                    <a:pt x="8822" y="570"/>
                    <a:pt x="8861" y="542"/>
                    <a:pt x="8915" y="537"/>
                  </a:cubicBezTo>
                  <a:cubicBezTo>
                    <a:pt x="8956" y="532"/>
                    <a:pt x="8997" y="521"/>
                    <a:pt x="9026" y="488"/>
                  </a:cubicBezTo>
                  <a:cubicBezTo>
                    <a:pt x="9035" y="479"/>
                    <a:pt x="9047" y="470"/>
                    <a:pt x="9059" y="479"/>
                  </a:cubicBezTo>
                  <a:cubicBezTo>
                    <a:pt x="9071" y="487"/>
                    <a:pt x="9069" y="501"/>
                    <a:pt x="9065" y="513"/>
                  </a:cubicBezTo>
                  <a:cubicBezTo>
                    <a:pt x="9023" y="651"/>
                    <a:pt x="8961" y="730"/>
                    <a:pt x="8792" y="736"/>
                  </a:cubicBezTo>
                  <a:cubicBezTo>
                    <a:pt x="8770" y="737"/>
                    <a:pt x="8740" y="725"/>
                    <a:pt x="8729" y="751"/>
                  </a:cubicBezTo>
                  <a:cubicBezTo>
                    <a:pt x="8716" y="782"/>
                    <a:pt x="8753" y="786"/>
                    <a:pt x="8768" y="797"/>
                  </a:cubicBezTo>
                  <a:cubicBezTo>
                    <a:pt x="8817" y="831"/>
                    <a:pt x="8837" y="885"/>
                    <a:pt x="8863" y="933"/>
                  </a:cubicBezTo>
                  <a:cubicBezTo>
                    <a:pt x="8875" y="955"/>
                    <a:pt x="8865" y="969"/>
                    <a:pt x="8840" y="971"/>
                  </a:cubicBezTo>
                  <a:cubicBezTo>
                    <a:pt x="8760" y="976"/>
                    <a:pt x="8688" y="949"/>
                    <a:pt x="8623" y="907"/>
                  </a:cubicBezTo>
                  <a:cubicBezTo>
                    <a:pt x="8594" y="888"/>
                    <a:pt x="8584" y="854"/>
                    <a:pt x="8572" y="822"/>
                  </a:cubicBezTo>
                  <a:cubicBezTo>
                    <a:pt x="8558" y="782"/>
                    <a:pt x="8542" y="779"/>
                    <a:pt x="8509" y="805"/>
                  </a:cubicBezTo>
                  <a:cubicBezTo>
                    <a:pt x="8449" y="855"/>
                    <a:pt x="8447" y="857"/>
                    <a:pt x="8514" y="896"/>
                  </a:cubicBezTo>
                  <a:cubicBezTo>
                    <a:pt x="8561" y="923"/>
                    <a:pt x="8586" y="962"/>
                    <a:pt x="8605" y="1009"/>
                  </a:cubicBezTo>
                  <a:cubicBezTo>
                    <a:pt x="8624" y="1055"/>
                    <a:pt x="8633" y="1105"/>
                    <a:pt x="8663" y="1147"/>
                  </a:cubicBezTo>
                  <a:cubicBezTo>
                    <a:pt x="8676" y="1164"/>
                    <a:pt x="8663" y="1173"/>
                    <a:pt x="8646" y="1175"/>
                  </a:cubicBezTo>
                  <a:cubicBezTo>
                    <a:pt x="8598" y="1180"/>
                    <a:pt x="8556" y="1163"/>
                    <a:pt x="8513" y="1147"/>
                  </a:cubicBezTo>
                  <a:cubicBezTo>
                    <a:pt x="8468" y="1131"/>
                    <a:pt x="8434" y="1104"/>
                    <a:pt x="8418" y="1056"/>
                  </a:cubicBezTo>
                  <a:cubicBezTo>
                    <a:pt x="8408" y="1027"/>
                    <a:pt x="8391" y="1000"/>
                    <a:pt x="8376" y="972"/>
                  </a:cubicBezTo>
                  <a:cubicBezTo>
                    <a:pt x="8366" y="951"/>
                    <a:pt x="8352" y="952"/>
                    <a:pt x="8338" y="969"/>
                  </a:cubicBezTo>
                  <a:cubicBezTo>
                    <a:pt x="8321" y="990"/>
                    <a:pt x="8315" y="1017"/>
                    <a:pt x="8307" y="1043"/>
                  </a:cubicBezTo>
                  <a:cubicBezTo>
                    <a:pt x="8282" y="1128"/>
                    <a:pt x="8293" y="1212"/>
                    <a:pt x="8316" y="1295"/>
                  </a:cubicBezTo>
                  <a:cubicBezTo>
                    <a:pt x="8332" y="1351"/>
                    <a:pt x="8351" y="1407"/>
                    <a:pt x="8370" y="1462"/>
                  </a:cubicBezTo>
                  <a:cubicBezTo>
                    <a:pt x="8382" y="1498"/>
                    <a:pt x="8406" y="1527"/>
                    <a:pt x="8429" y="1557"/>
                  </a:cubicBezTo>
                  <a:cubicBezTo>
                    <a:pt x="8436" y="1565"/>
                    <a:pt x="8444" y="1572"/>
                    <a:pt x="8456" y="1566"/>
                  </a:cubicBezTo>
                  <a:cubicBezTo>
                    <a:pt x="8470" y="1559"/>
                    <a:pt x="8470" y="1545"/>
                    <a:pt x="8466" y="1533"/>
                  </a:cubicBezTo>
                  <a:cubicBezTo>
                    <a:pt x="8463" y="1524"/>
                    <a:pt x="8455" y="1516"/>
                    <a:pt x="8450" y="1507"/>
                  </a:cubicBezTo>
                  <a:cubicBezTo>
                    <a:pt x="8443" y="1494"/>
                    <a:pt x="8436" y="1481"/>
                    <a:pt x="8432" y="1467"/>
                  </a:cubicBezTo>
                  <a:cubicBezTo>
                    <a:pt x="8425" y="1440"/>
                    <a:pt x="8436" y="1423"/>
                    <a:pt x="8462" y="1427"/>
                  </a:cubicBezTo>
                  <a:cubicBezTo>
                    <a:pt x="8520" y="1434"/>
                    <a:pt x="8582" y="1430"/>
                    <a:pt x="8629" y="1480"/>
                  </a:cubicBezTo>
                  <a:cubicBezTo>
                    <a:pt x="8651" y="1503"/>
                    <a:pt x="8671" y="1526"/>
                    <a:pt x="8678" y="1557"/>
                  </a:cubicBezTo>
                  <a:cubicBezTo>
                    <a:pt x="8681" y="1569"/>
                    <a:pt x="8683" y="1582"/>
                    <a:pt x="8687" y="1593"/>
                  </a:cubicBezTo>
                  <a:cubicBezTo>
                    <a:pt x="8690" y="1602"/>
                    <a:pt x="8696" y="1608"/>
                    <a:pt x="8705" y="1608"/>
                  </a:cubicBezTo>
                  <a:cubicBezTo>
                    <a:pt x="8718" y="1609"/>
                    <a:pt x="8724" y="1601"/>
                    <a:pt x="8728" y="1590"/>
                  </a:cubicBezTo>
                  <a:cubicBezTo>
                    <a:pt x="8738" y="1563"/>
                    <a:pt x="8736" y="1532"/>
                    <a:pt x="8716" y="1514"/>
                  </a:cubicBezTo>
                  <a:cubicBezTo>
                    <a:pt x="8661" y="1461"/>
                    <a:pt x="8666" y="1394"/>
                    <a:pt x="8663" y="1328"/>
                  </a:cubicBezTo>
                  <a:cubicBezTo>
                    <a:pt x="8662" y="1305"/>
                    <a:pt x="8661" y="1282"/>
                    <a:pt x="8662" y="1259"/>
                  </a:cubicBezTo>
                  <a:cubicBezTo>
                    <a:pt x="8663" y="1230"/>
                    <a:pt x="8678" y="1218"/>
                    <a:pt x="8702" y="1229"/>
                  </a:cubicBezTo>
                  <a:cubicBezTo>
                    <a:pt x="8779" y="1262"/>
                    <a:pt x="8840" y="1314"/>
                    <a:pt x="8858" y="1401"/>
                  </a:cubicBezTo>
                  <a:cubicBezTo>
                    <a:pt x="8863" y="1428"/>
                    <a:pt x="8857" y="1455"/>
                    <a:pt x="8842" y="1479"/>
                  </a:cubicBezTo>
                  <a:cubicBezTo>
                    <a:pt x="8822" y="1511"/>
                    <a:pt x="8816" y="1549"/>
                    <a:pt x="8801" y="1583"/>
                  </a:cubicBezTo>
                  <a:cubicBezTo>
                    <a:pt x="8796" y="1594"/>
                    <a:pt x="8793" y="1609"/>
                    <a:pt x="8807" y="1617"/>
                  </a:cubicBezTo>
                  <a:cubicBezTo>
                    <a:pt x="8820" y="1624"/>
                    <a:pt x="8830" y="1612"/>
                    <a:pt x="8839" y="1604"/>
                  </a:cubicBezTo>
                  <a:cubicBezTo>
                    <a:pt x="8860" y="1585"/>
                    <a:pt x="8870" y="1560"/>
                    <a:pt x="8881" y="1536"/>
                  </a:cubicBezTo>
                  <a:cubicBezTo>
                    <a:pt x="8888" y="1521"/>
                    <a:pt x="8887" y="1502"/>
                    <a:pt x="8904" y="1487"/>
                  </a:cubicBezTo>
                  <a:cubicBezTo>
                    <a:pt x="8933" y="1508"/>
                    <a:pt x="8941" y="1539"/>
                    <a:pt x="8944" y="1571"/>
                  </a:cubicBezTo>
                  <a:cubicBezTo>
                    <a:pt x="8948" y="1620"/>
                    <a:pt x="8937" y="1667"/>
                    <a:pt x="8915" y="1710"/>
                  </a:cubicBezTo>
                  <a:cubicBezTo>
                    <a:pt x="8893" y="1752"/>
                    <a:pt x="8864" y="1766"/>
                    <a:pt x="8815" y="1760"/>
                  </a:cubicBezTo>
                  <a:cubicBezTo>
                    <a:pt x="8784" y="1757"/>
                    <a:pt x="8769" y="1767"/>
                    <a:pt x="8775" y="1798"/>
                  </a:cubicBezTo>
                  <a:cubicBezTo>
                    <a:pt x="8784" y="1849"/>
                    <a:pt x="8783" y="1901"/>
                    <a:pt x="8794" y="1952"/>
                  </a:cubicBezTo>
                  <a:cubicBezTo>
                    <a:pt x="8817" y="2053"/>
                    <a:pt x="8838" y="2155"/>
                    <a:pt x="8841" y="2260"/>
                  </a:cubicBezTo>
                  <a:cubicBezTo>
                    <a:pt x="8842" y="2299"/>
                    <a:pt x="8849" y="2338"/>
                    <a:pt x="8854" y="2377"/>
                  </a:cubicBezTo>
                  <a:cubicBezTo>
                    <a:pt x="8855" y="2385"/>
                    <a:pt x="8857" y="2394"/>
                    <a:pt x="8866" y="2398"/>
                  </a:cubicBezTo>
                  <a:cubicBezTo>
                    <a:pt x="8878" y="2402"/>
                    <a:pt x="8886" y="2395"/>
                    <a:pt x="8893" y="2387"/>
                  </a:cubicBezTo>
                  <a:cubicBezTo>
                    <a:pt x="8899" y="2379"/>
                    <a:pt x="8907" y="2371"/>
                    <a:pt x="8910" y="2362"/>
                  </a:cubicBezTo>
                  <a:cubicBezTo>
                    <a:pt x="8928" y="2313"/>
                    <a:pt x="8959" y="2276"/>
                    <a:pt x="9002" y="2247"/>
                  </a:cubicBezTo>
                  <a:cubicBezTo>
                    <a:pt x="9037" y="2223"/>
                    <a:pt x="9035" y="2205"/>
                    <a:pt x="8995" y="2193"/>
                  </a:cubicBezTo>
                  <a:cubicBezTo>
                    <a:pt x="8951" y="2180"/>
                    <a:pt x="8918" y="2155"/>
                    <a:pt x="8887" y="2123"/>
                  </a:cubicBezTo>
                  <a:cubicBezTo>
                    <a:pt x="8872" y="2108"/>
                    <a:pt x="8872" y="2097"/>
                    <a:pt x="8884" y="2080"/>
                  </a:cubicBezTo>
                  <a:cubicBezTo>
                    <a:pt x="8925" y="2029"/>
                    <a:pt x="9023" y="2010"/>
                    <a:pt x="9072" y="2028"/>
                  </a:cubicBezTo>
                  <a:cubicBezTo>
                    <a:pt x="9092" y="2035"/>
                    <a:pt x="9107" y="2047"/>
                    <a:pt x="9117" y="2067"/>
                  </a:cubicBezTo>
                  <a:cubicBezTo>
                    <a:pt x="9129" y="2091"/>
                    <a:pt x="9150" y="2094"/>
                    <a:pt x="9168" y="2074"/>
                  </a:cubicBezTo>
                  <a:cubicBezTo>
                    <a:pt x="9204" y="2033"/>
                    <a:pt x="9253" y="2009"/>
                    <a:pt x="9300" y="1984"/>
                  </a:cubicBezTo>
                  <a:cubicBezTo>
                    <a:pt x="9314" y="1976"/>
                    <a:pt x="9326" y="1969"/>
                    <a:pt x="9323" y="1951"/>
                  </a:cubicBezTo>
                  <a:cubicBezTo>
                    <a:pt x="9320" y="1932"/>
                    <a:pt x="9306" y="1922"/>
                    <a:pt x="9288" y="1923"/>
                  </a:cubicBezTo>
                  <a:cubicBezTo>
                    <a:pt x="9186" y="1929"/>
                    <a:pt x="9139" y="1845"/>
                    <a:pt x="9068" y="1794"/>
                  </a:cubicBezTo>
                  <a:cubicBezTo>
                    <a:pt x="9113" y="1758"/>
                    <a:pt x="9161" y="1742"/>
                    <a:pt x="9209" y="1729"/>
                  </a:cubicBezTo>
                  <a:cubicBezTo>
                    <a:pt x="9287" y="1708"/>
                    <a:pt x="9366" y="1761"/>
                    <a:pt x="9379" y="1840"/>
                  </a:cubicBezTo>
                  <a:cubicBezTo>
                    <a:pt x="9382" y="1852"/>
                    <a:pt x="9382" y="1865"/>
                    <a:pt x="9386" y="1876"/>
                  </a:cubicBezTo>
                  <a:cubicBezTo>
                    <a:pt x="9392" y="1894"/>
                    <a:pt x="9407" y="1907"/>
                    <a:pt x="9424" y="1898"/>
                  </a:cubicBezTo>
                  <a:cubicBezTo>
                    <a:pt x="9485" y="1865"/>
                    <a:pt x="9551" y="1876"/>
                    <a:pt x="9614" y="1868"/>
                  </a:cubicBezTo>
                  <a:cubicBezTo>
                    <a:pt x="9622" y="1866"/>
                    <a:pt x="9631" y="1867"/>
                    <a:pt x="9639" y="1865"/>
                  </a:cubicBezTo>
                  <a:cubicBezTo>
                    <a:pt x="9667" y="1858"/>
                    <a:pt x="9676" y="1840"/>
                    <a:pt x="9657" y="1821"/>
                  </a:cubicBezTo>
                  <a:cubicBezTo>
                    <a:pt x="9631" y="1794"/>
                    <a:pt x="9614" y="1761"/>
                    <a:pt x="9592" y="1731"/>
                  </a:cubicBezTo>
                  <a:cubicBezTo>
                    <a:pt x="9574" y="1707"/>
                    <a:pt x="9558" y="1684"/>
                    <a:pt x="9543" y="1659"/>
                  </a:cubicBezTo>
                  <a:cubicBezTo>
                    <a:pt x="9508" y="1600"/>
                    <a:pt x="9469" y="1587"/>
                    <a:pt x="9407" y="1614"/>
                  </a:cubicBezTo>
                  <a:cubicBezTo>
                    <a:pt x="9316" y="1652"/>
                    <a:pt x="9223" y="1637"/>
                    <a:pt x="9130" y="1624"/>
                  </a:cubicBezTo>
                  <a:cubicBezTo>
                    <a:pt x="9106" y="1621"/>
                    <a:pt x="9099" y="1599"/>
                    <a:pt x="9116" y="1583"/>
                  </a:cubicBezTo>
                  <a:cubicBezTo>
                    <a:pt x="9165" y="1537"/>
                    <a:pt x="9223" y="1503"/>
                    <a:pt x="9286" y="1481"/>
                  </a:cubicBezTo>
                  <a:cubicBezTo>
                    <a:pt x="9312" y="1471"/>
                    <a:pt x="9338" y="1487"/>
                    <a:pt x="9364" y="1495"/>
                  </a:cubicBezTo>
                  <a:cubicBezTo>
                    <a:pt x="9378" y="1500"/>
                    <a:pt x="9394" y="1506"/>
                    <a:pt x="9403" y="1491"/>
                  </a:cubicBezTo>
                  <a:cubicBezTo>
                    <a:pt x="9414" y="1474"/>
                    <a:pt x="9403" y="1458"/>
                    <a:pt x="9389" y="1448"/>
                  </a:cubicBezTo>
                  <a:cubicBezTo>
                    <a:pt x="9347" y="1415"/>
                    <a:pt x="9302" y="1387"/>
                    <a:pt x="9246" y="1411"/>
                  </a:cubicBezTo>
                  <a:cubicBezTo>
                    <a:pt x="9192" y="1435"/>
                    <a:pt x="9133" y="1438"/>
                    <a:pt x="9077" y="1454"/>
                  </a:cubicBezTo>
                  <a:cubicBezTo>
                    <a:pt x="9067" y="1457"/>
                    <a:pt x="9057" y="1459"/>
                    <a:pt x="9046" y="1460"/>
                  </a:cubicBezTo>
                  <a:cubicBezTo>
                    <a:pt x="9013" y="1463"/>
                    <a:pt x="9003" y="1450"/>
                    <a:pt x="9017" y="1420"/>
                  </a:cubicBezTo>
                  <a:cubicBezTo>
                    <a:pt x="9038" y="1375"/>
                    <a:pt x="9055" y="1327"/>
                    <a:pt x="9114" y="1315"/>
                  </a:cubicBezTo>
                  <a:cubicBezTo>
                    <a:pt x="9129" y="1312"/>
                    <a:pt x="9139" y="1299"/>
                    <a:pt x="9137" y="1283"/>
                  </a:cubicBezTo>
                  <a:cubicBezTo>
                    <a:pt x="9135" y="1265"/>
                    <a:pt x="9119" y="1259"/>
                    <a:pt x="9104" y="1262"/>
                  </a:cubicBezTo>
                  <a:cubicBezTo>
                    <a:pt x="9024" y="1277"/>
                    <a:pt x="8971" y="1228"/>
                    <a:pt x="8916" y="1183"/>
                  </a:cubicBezTo>
                  <a:cubicBezTo>
                    <a:pt x="8896" y="1167"/>
                    <a:pt x="8868" y="1160"/>
                    <a:pt x="8851" y="1133"/>
                  </a:cubicBezTo>
                  <a:cubicBezTo>
                    <a:pt x="8911" y="1099"/>
                    <a:pt x="8977" y="1081"/>
                    <a:pt x="9037" y="1082"/>
                  </a:cubicBezTo>
                  <a:cubicBezTo>
                    <a:pt x="9099" y="1083"/>
                    <a:pt x="9169" y="1106"/>
                    <a:pt x="9199" y="1177"/>
                  </a:cubicBezTo>
                  <a:cubicBezTo>
                    <a:pt x="9203" y="1185"/>
                    <a:pt x="9206" y="1193"/>
                    <a:pt x="9211" y="1199"/>
                  </a:cubicBezTo>
                  <a:cubicBezTo>
                    <a:pt x="9223" y="1213"/>
                    <a:pt x="9236" y="1231"/>
                    <a:pt x="9257" y="1223"/>
                  </a:cubicBezTo>
                  <a:cubicBezTo>
                    <a:pt x="9278" y="1215"/>
                    <a:pt x="9270" y="1195"/>
                    <a:pt x="9267" y="1179"/>
                  </a:cubicBezTo>
                  <a:cubicBezTo>
                    <a:pt x="9258" y="1123"/>
                    <a:pt x="9266" y="1067"/>
                    <a:pt x="9270" y="1011"/>
                  </a:cubicBezTo>
                  <a:cubicBezTo>
                    <a:pt x="9272" y="985"/>
                    <a:pt x="9293" y="975"/>
                    <a:pt x="9307" y="993"/>
                  </a:cubicBezTo>
                  <a:cubicBezTo>
                    <a:pt x="9338" y="1030"/>
                    <a:pt x="9381" y="1054"/>
                    <a:pt x="9414" y="1088"/>
                  </a:cubicBezTo>
                  <a:cubicBezTo>
                    <a:pt x="9465" y="1140"/>
                    <a:pt x="9467" y="1198"/>
                    <a:pt x="9450" y="1261"/>
                  </a:cubicBezTo>
                  <a:cubicBezTo>
                    <a:pt x="9442" y="1289"/>
                    <a:pt x="9429" y="1316"/>
                    <a:pt x="9415" y="1341"/>
                  </a:cubicBezTo>
                  <a:cubicBezTo>
                    <a:pt x="9406" y="1359"/>
                    <a:pt x="9408" y="1372"/>
                    <a:pt x="9418" y="1387"/>
                  </a:cubicBezTo>
                  <a:cubicBezTo>
                    <a:pt x="9437" y="1413"/>
                    <a:pt x="9458" y="1435"/>
                    <a:pt x="9483" y="1455"/>
                  </a:cubicBezTo>
                  <a:cubicBezTo>
                    <a:pt x="9500" y="1469"/>
                    <a:pt x="9517" y="1461"/>
                    <a:pt x="9515" y="1439"/>
                  </a:cubicBezTo>
                  <a:cubicBezTo>
                    <a:pt x="9508" y="1365"/>
                    <a:pt x="9551" y="1302"/>
                    <a:pt x="9555" y="1232"/>
                  </a:cubicBezTo>
                  <a:cubicBezTo>
                    <a:pt x="9556" y="1219"/>
                    <a:pt x="9563" y="1207"/>
                    <a:pt x="9577" y="1205"/>
                  </a:cubicBezTo>
                  <a:cubicBezTo>
                    <a:pt x="9589" y="1203"/>
                    <a:pt x="9595" y="1214"/>
                    <a:pt x="9600" y="1223"/>
                  </a:cubicBezTo>
                  <a:cubicBezTo>
                    <a:pt x="9627" y="1265"/>
                    <a:pt x="9660" y="1303"/>
                    <a:pt x="9674" y="1352"/>
                  </a:cubicBezTo>
                  <a:cubicBezTo>
                    <a:pt x="9693" y="1420"/>
                    <a:pt x="9687" y="1480"/>
                    <a:pt x="9631" y="1529"/>
                  </a:cubicBezTo>
                  <a:cubicBezTo>
                    <a:pt x="9620" y="1538"/>
                    <a:pt x="9609" y="1548"/>
                    <a:pt x="9599" y="1558"/>
                  </a:cubicBezTo>
                  <a:cubicBezTo>
                    <a:pt x="9583" y="1574"/>
                    <a:pt x="9584" y="1590"/>
                    <a:pt x="9596" y="1608"/>
                  </a:cubicBezTo>
                  <a:cubicBezTo>
                    <a:pt x="9661" y="1710"/>
                    <a:pt x="9740" y="1793"/>
                    <a:pt x="9853" y="1845"/>
                  </a:cubicBezTo>
                  <a:cubicBezTo>
                    <a:pt x="9941" y="1885"/>
                    <a:pt x="10024" y="1938"/>
                    <a:pt x="10108" y="1988"/>
                  </a:cubicBezTo>
                  <a:cubicBezTo>
                    <a:pt x="10144" y="2009"/>
                    <a:pt x="10174" y="2038"/>
                    <a:pt x="10207" y="2063"/>
                  </a:cubicBezTo>
                  <a:cubicBezTo>
                    <a:pt x="10216" y="2069"/>
                    <a:pt x="10227" y="2074"/>
                    <a:pt x="10236" y="2068"/>
                  </a:cubicBezTo>
                  <a:cubicBezTo>
                    <a:pt x="10249" y="2059"/>
                    <a:pt x="10245" y="2046"/>
                    <a:pt x="10240" y="2035"/>
                  </a:cubicBezTo>
                  <a:cubicBezTo>
                    <a:pt x="10236" y="2027"/>
                    <a:pt x="10232" y="2020"/>
                    <a:pt x="10227" y="2013"/>
                  </a:cubicBezTo>
                  <a:cubicBezTo>
                    <a:pt x="10189" y="1952"/>
                    <a:pt x="10165" y="1886"/>
                    <a:pt x="10169" y="1813"/>
                  </a:cubicBezTo>
                  <a:cubicBezTo>
                    <a:pt x="10169" y="1811"/>
                    <a:pt x="10169" y="1808"/>
                    <a:pt x="10169" y="1806"/>
                  </a:cubicBezTo>
                  <a:cubicBezTo>
                    <a:pt x="10161" y="1710"/>
                    <a:pt x="10123" y="1691"/>
                    <a:pt x="10038" y="1738"/>
                  </a:cubicBezTo>
                  <a:cubicBezTo>
                    <a:pt x="9998" y="1761"/>
                    <a:pt x="9952" y="1767"/>
                    <a:pt x="9907" y="1776"/>
                  </a:cubicBezTo>
                  <a:cubicBezTo>
                    <a:pt x="9878" y="1781"/>
                    <a:pt x="9868" y="1769"/>
                    <a:pt x="9877" y="1741"/>
                  </a:cubicBezTo>
                  <a:cubicBezTo>
                    <a:pt x="9889" y="1702"/>
                    <a:pt x="9885" y="1659"/>
                    <a:pt x="9913" y="1623"/>
                  </a:cubicBezTo>
                  <a:cubicBezTo>
                    <a:pt x="9949" y="1578"/>
                    <a:pt x="9973" y="1568"/>
                    <a:pt x="10025" y="1588"/>
                  </a:cubicBezTo>
                  <a:cubicBezTo>
                    <a:pt x="10041" y="1595"/>
                    <a:pt x="10062" y="1616"/>
                    <a:pt x="10074" y="1593"/>
                  </a:cubicBezTo>
                  <a:cubicBezTo>
                    <a:pt x="10084" y="1574"/>
                    <a:pt x="10063" y="1556"/>
                    <a:pt x="10046" y="1543"/>
                  </a:cubicBezTo>
                  <a:cubicBezTo>
                    <a:pt x="10028" y="1527"/>
                    <a:pt x="10005" y="1526"/>
                    <a:pt x="9982" y="1522"/>
                  </a:cubicBezTo>
                  <a:cubicBezTo>
                    <a:pt x="9891" y="1508"/>
                    <a:pt x="9839" y="1445"/>
                    <a:pt x="9797" y="1371"/>
                  </a:cubicBezTo>
                  <a:cubicBezTo>
                    <a:pt x="9788" y="1353"/>
                    <a:pt x="9802" y="1344"/>
                    <a:pt x="9815" y="1337"/>
                  </a:cubicBezTo>
                  <a:cubicBezTo>
                    <a:pt x="9866" y="1310"/>
                    <a:pt x="10005" y="1326"/>
                    <a:pt x="10045" y="1368"/>
                  </a:cubicBezTo>
                  <a:cubicBezTo>
                    <a:pt x="10080" y="1405"/>
                    <a:pt x="10106" y="1450"/>
                    <a:pt x="10115" y="1501"/>
                  </a:cubicBezTo>
                  <a:cubicBezTo>
                    <a:pt x="10119" y="1525"/>
                    <a:pt x="10137" y="1541"/>
                    <a:pt x="10145" y="1562"/>
                  </a:cubicBezTo>
                  <a:cubicBezTo>
                    <a:pt x="10148" y="1570"/>
                    <a:pt x="10156" y="1574"/>
                    <a:pt x="10165" y="1572"/>
                  </a:cubicBezTo>
                  <a:cubicBezTo>
                    <a:pt x="10174" y="1570"/>
                    <a:pt x="10178" y="1562"/>
                    <a:pt x="10179" y="1554"/>
                  </a:cubicBezTo>
                  <a:cubicBezTo>
                    <a:pt x="10180" y="1550"/>
                    <a:pt x="10181" y="1545"/>
                    <a:pt x="10180" y="1542"/>
                  </a:cubicBezTo>
                  <a:cubicBezTo>
                    <a:pt x="10149" y="1456"/>
                    <a:pt x="10224" y="1408"/>
                    <a:pt x="10250" y="1343"/>
                  </a:cubicBezTo>
                  <a:cubicBezTo>
                    <a:pt x="10261" y="1316"/>
                    <a:pt x="10287" y="1319"/>
                    <a:pt x="10303" y="1343"/>
                  </a:cubicBezTo>
                  <a:cubicBezTo>
                    <a:pt x="10347" y="1408"/>
                    <a:pt x="10346" y="1546"/>
                    <a:pt x="10288" y="1602"/>
                  </a:cubicBezTo>
                  <a:cubicBezTo>
                    <a:pt x="10225" y="1663"/>
                    <a:pt x="10226" y="1728"/>
                    <a:pt x="10246" y="1802"/>
                  </a:cubicBezTo>
                  <a:cubicBezTo>
                    <a:pt x="10247" y="1808"/>
                    <a:pt x="10248" y="1814"/>
                    <a:pt x="10251" y="1820"/>
                  </a:cubicBezTo>
                  <a:cubicBezTo>
                    <a:pt x="10256" y="1835"/>
                    <a:pt x="10251" y="1858"/>
                    <a:pt x="10272" y="1861"/>
                  </a:cubicBezTo>
                  <a:cubicBezTo>
                    <a:pt x="10295" y="1865"/>
                    <a:pt x="10305" y="1843"/>
                    <a:pt x="10307" y="1825"/>
                  </a:cubicBezTo>
                  <a:cubicBezTo>
                    <a:pt x="10318" y="1766"/>
                    <a:pt x="10356" y="1725"/>
                    <a:pt x="10393" y="1683"/>
                  </a:cubicBezTo>
                  <a:cubicBezTo>
                    <a:pt x="10416" y="1658"/>
                    <a:pt x="10433" y="1629"/>
                    <a:pt x="10448" y="1600"/>
                  </a:cubicBezTo>
                  <a:cubicBezTo>
                    <a:pt x="10485" y="1531"/>
                    <a:pt x="10483" y="1460"/>
                    <a:pt x="10452" y="1390"/>
                  </a:cubicBezTo>
                  <a:cubicBezTo>
                    <a:pt x="10431" y="1342"/>
                    <a:pt x="10402" y="1299"/>
                    <a:pt x="10367" y="1260"/>
                  </a:cubicBezTo>
                  <a:cubicBezTo>
                    <a:pt x="10329" y="1217"/>
                    <a:pt x="10300" y="1171"/>
                    <a:pt x="10282" y="1116"/>
                  </a:cubicBezTo>
                  <a:cubicBezTo>
                    <a:pt x="10267" y="1070"/>
                    <a:pt x="10241" y="1059"/>
                    <a:pt x="10195" y="1075"/>
                  </a:cubicBezTo>
                  <a:cubicBezTo>
                    <a:pt x="10173" y="1083"/>
                    <a:pt x="10153" y="1094"/>
                    <a:pt x="10132" y="1104"/>
                  </a:cubicBezTo>
                  <a:cubicBezTo>
                    <a:pt x="10094" y="1123"/>
                    <a:pt x="10054" y="1135"/>
                    <a:pt x="10012" y="1132"/>
                  </a:cubicBezTo>
                  <a:cubicBezTo>
                    <a:pt x="9960" y="1130"/>
                    <a:pt x="9909" y="1124"/>
                    <a:pt x="9857" y="1120"/>
                  </a:cubicBezTo>
                  <a:cubicBezTo>
                    <a:pt x="9844" y="1119"/>
                    <a:pt x="9831" y="1116"/>
                    <a:pt x="9827" y="1103"/>
                  </a:cubicBezTo>
                  <a:cubicBezTo>
                    <a:pt x="9823" y="1090"/>
                    <a:pt x="9828" y="1078"/>
                    <a:pt x="9838" y="1069"/>
                  </a:cubicBezTo>
                  <a:cubicBezTo>
                    <a:pt x="9890" y="1024"/>
                    <a:pt x="9939" y="977"/>
                    <a:pt x="9999" y="942"/>
                  </a:cubicBezTo>
                  <a:cubicBezTo>
                    <a:pt x="10043" y="917"/>
                    <a:pt x="10082" y="921"/>
                    <a:pt x="10121" y="949"/>
                  </a:cubicBezTo>
                  <a:cubicBezTo>
                    <a:pt x="10141" y="963"/>
                    <a:pt x="10165" y="991"/>
                    <a:pt x="10186" y="969"/>
                  </a:cubicBezTo>
                  <a:cubicBezTo>
                    <a:pt x="10211" y="942"/>
                    <a:pt x="10174" y="923"/>
                    <a:pt x="10159" y="903"/>
                  </a:cubicBezTo>
                  <a:cubicBezTo>
                    <a:pt x="10146" y="884"/>
                    <a:pt x="10130" y="867"/>
                    <a:pt x="10112" y="853"/>
                  </a:cubicBezTo>
                  <a:cubicBezTo>
                    <a:pt x="10081" y="829"/>
                    <a:pt x="10049" y="808"/>
                    <a:pt x="10005" y="823"/>
                  </a:cubicBezTo>
                  <a:cubicBezTo>
                    <a:pt x="9962" y="838"/>
                    <a:pt x="9916" y="841"/>
                    <a:pt x="9872" y="857"/>
                  </a:cubicBezTo>
                  <a:cubicBezTo>
                    <a:pt x="9825" y="874"/>
                    <a:pt x="9782" y="851"/>
                    <a:pt x="9743" y="826"/>
                  </a:cubicBezTo>
                  <a:cubicBezTo>
                    <a:pt x="9722" y="813"/>
                    <a:pt x="9703" y="796"/>
                    <a:pt x="9683" y="781"/>
                  </a:cubicBezTo>
                  <a:cubicBezTo>
                    <a:pt x="9660" y="762"/>
                    <a:pt x="9660" y="747"/>
                    <a:pt x="9685" y="734"/>
                  </a:cubicBezTo>
                  <a:cubicBezTo>
                    <a:pt x="9767" y="690"/>
                    <a:pt x="9851" y="653"/>
                    <a:pt x="9943" y="709"/>
                  </a:cubicBezTo>
                  <a:cubicBezTo>
                    <a:pt x="9946" y="710"/>
                    <a:pt x="9951" y="708"/>
                    <a:pt x="9955" y="708"/>
                  </a:cubicBezTo>
                  <a:cubicBezTo>
                    <a:pt x="9929" y="650"/>
                    <a:pt x="9884" y="620"/>
                    <a:pt x="9822" y="621"/>
                  </a:cubicBezTo>
                  <a:cubicBezTo>
                    <a:pt x="9810" y="621"/>
                    <a:pt x="9797" y="624"/>
                    <a:pt x="9785" y="625"/>
                  </a:cubicBezTo>
                  <a:cubicBezTo>
                    <a:pt x="9704" y="632"/>
                    <a:pt x="9633" y="613"/>
                    <a:pt x="9572" y="556"/>
                  </a:cubicBezTo>
                  <a:cubicBezTo>
                    <a:pt x="9553" y="538"/>
                    <a:pt x="9531" y="522"/>
                    <a:pt x="9510" y="504"/>
                  </a:cubicBezTo>
                  <a:cubicBezTo>
                    <a:pt x="9485" y="482"/>
                    <a:pt x="9486" y="471"/>
                    <a:pt x="9513" y="451"/>
                  </a:cubicBezTo>
                  <a:cubicBezTo>
                    <a:pt x="9595" y="390"/>
                    <a:pt x="9711" y="409"/>
                    <a:pt x="9771" y="492"/>
                  </a:cubicBezTo>
                  <a:cubicBezTo>
                    <a:pt x="9779" y="504"/>
                    <a:pt x="9786" y="514"/>
                    <a:pt x="9800" y="508"/>
                  </a:cubicBezTo>
                  <a:cubicBezTo>
                    <a:pt x="9810" y="503"/>
                    <a:pt x="9808" y="490"/>
                    <a:pt x="9807" y="479"/>
                  </a:cubicBezTo>
                  <a:cubicBezTo>
                    <a:pt x="9796" y="422"/>
                    <a:pt x="9749" y="355"/>
                    <a:pt x="9680" y="341"/>
                  </a:cubicBezTo>
                  <a:cubicBezTo>
                    <a:pt x="9665" y="338"/>
                    <a:pt x="9651" y="336"/>
                    <a:pt x="9636" y="335"/>
                  </a:cubicBezTo>
                  <a:cubicBezTo>
                    <a:pt x="9549" y="330"/>
                    <a:pt x="9497" y="276"/>
                    <a:pt x="9458" y="206"/>
                  </a:cubicBezTo>
                  <a:cubicBezTo>
                    <a:pt x="9443" y="180"/>
                    <a:pt x="9449" y="165"/>
                    <a:pt x="9476" y="160"/>
                  </a:cubicBezTo>
                  <a:cubicBezTo>
                    <a:pt x="9515" y="154"/>
                    <a:pt x="9555" y="152"/>
                    <a:pt x="9594" y="146"/>
                  </a:cubicBezTo>
                  <a:cubicBezTo>
                    <a:pt x="9659" y="136"/>
                    <a:pt x="9711" y="164"/>
                    <a:pt x="9760" y="201"/>
                  </a:cubicBezTo>
                  <a:cubicBezTo>
                    <a:pt x="9786" y="220"/>
                    <a:pt x="9810" y="238"/>
                    <a:pt x="9796" y="278"/>
                  </a:cubicBezTo>
                  <a:cubicBezTo>
                    <a:pt x="9787" y="305"/>
                    <a:pt x="9810" y="324"/>
                    <a:pt x="9824" y="344"/>
                  </a:cubicBezTo>
                  <a:cubicBezTo>
                    <a:pt x="9840" y="367"/>
                    <a:pt x="9845" y="411"/>
                    <a:pt x="9874" y="409"/>
                  </a:cubicBezTo>
                  <a:cubicBezTo>
                    <a:pt x="9909" y="406"/>
                    <a:pt x="9909" y="362"/>
                    <a:pt x="9917" y="333"/>
                  </a:cubicBezTo>
                  <a:cubicBezTo>
                    <a:pt x="9929" y="292"/>
                    <a:pt x="9953" y="258"/>
                    <a:pt x="9976" y="224"/>
                  </a:cubicBezTo>
                  <a:cubicBezTo>
                    <a:pt x="9989" y="204"/>
                    <a:pt x="10006" y="204"/>
                    <a:pt x="10022" y="222"/>
                  </a:cubicBezTo>
                  <a:cubicBezTo>
                    <a:pt x="10082" y="289"/>
                    <a:pt x="10095" y="421"/>
                    <a:pt x="10048" y="497"/>
                  </a:cubicBezTo>
                  <a:cubicBezTo>
                    <a:pt x="10034" y="518"/>
                    <a:pt x="10017" y="536"/>
                    <a:pt x="9995" y="549"/>
                  </a:cubicBezTo>
                  <a:cubicBezTo>
                    <a:pt x="9968" y="566"/>
                    <a:pt x="9964" y="583"/>
                    <a:pt x="9985" y="604"/>
                  </a:cubicBezTo>
                  <a:cubicBezTo>
                    <a:pt x="10010" y="630"/>
                    <a:pt x="10029" y="666"/>
                    <a:pt x="10081" y="671"/>
                  </a:cubicBezTo>
                  <a:cubicBezTo>
                    <a:pt x="10046" y="580"/>
                    <a:pt x="10113" y="505"/>
                    <a:pt x="10107" y="420"/>
                  </a:cubicBezTo>
                  <a:cubicBezTo>
                    <a:pt x="10106" y="402"/>
                    <a:pt x="10125" y="395"/>
                    <a:pt x="10137" y="408"/>
                  </a:cubicBezTo>
                  <a:cubicBezTo>
                    <a:pt x="10174" y="445"/>
                    <a:pt x="10211" y="481"/>
                    <a:pt x="10244" y="521"/>
                  </a:cubicBezTo>
                  <a:cubicBezTo>
                    <a:pt x="10302" y="591"/>
                    <a:pt x="10293" y="668"/>
                    <a:pt x="10225" y="730"/>
                  </a:cubicBezTo>
                  <a:cubicBezTo>
                    <a:pt x="10178" y="772"/>
                    <a:pt x="10176" y="782"/>
                    <a:pt x="10209" y="836"/>
                  </a:cubicBezTo>
                  <a:cubicBezTo>
                    <a:pt x="10225" y="862"/>
                    <a:pt x="10244" y="888"/>
                    <a:pt x="10261" y="913"/>
                  </a:cubicBezTo>
                  <a:cubicBezTo>
                    <a:pt x="10268" y="925"/>
                    <a:pt x="10279" y="933"/>
                    <a:pt x="10292" y="930"/>
                  </a:cubicBezTo>
                  <a:cubicBezTo>
                    <a:pt x="10310" y="926"/>
                    <a:pt x="10312" y="909"/>
                    <a:pt x="10310" y="895"/>
                  </a:cubicBezTo>
                  <a:cubicBezTo>
                    <a:pt x="10301" y="842"/>
                    <a:pt x="10318" y="792"/>
                    <a:pt x="10320" y="740"/>
                  </a:cubicBezTo>
                  <a:cubicBezTo>
                    <a:pt x="10320" y="725"/>
                    <a:pt x="10322" y="709"/>
                    <a:pt x="10340" y="706"/>
                  </a:cubicBezTo>
                  <a:cubicBezTo>
                    <a:pt x="10354" y="703"/>
                    <a:pt x="10362" y="714"/>
                    <a:pt x="10370" y="724"/>
                  </a:cubicBezTo>
                  <a:cubicBezTo>
                    <a:pt x="10395" y="757"/>
                    <a:pt x="10418" y="790"/>
                    <a:pt x="10434" y="830"/>
                  </a:cubicBezTo>
                  <a:cubicBezTo>
                    <a:pt x="10456" y="886"/>
                    <a:pt x="10443" y="931"/>
                    <a:pt x="10413" y="976"/>
                  </a:cubicBezTo>
                  <a:cubicBezTo>
                    <a:pt x="10404" y="990"/>
                    <a:pt x="10394" y="1003"/>
                    <a:pt x="10384" y="1017"/>
                  </a:cubicBezTo>
                  <a:cubicBezTo>
                    <a:pt x="10372" y="1033"/>
                    <a:pt x="10370" y="1052"/>
                    <a:pt x="10378" y="1070"/>
                  </a:cubicBezTo>
                  <a:cubicBezTo>
                    <a:pt x="10409" y="1143"/>
                    <a:pt x="10450" y="1210"/>
                    <a:pt x="10508" y="1266"/>
                  </a:cubicBezTo>
                  <a:cubicBezTo>
                    <a:pt x="10514" y="1271"/>
                    <a:pt x="10521" y="1276"/>
                    <a:pt x="10531" y="1273"/>
                  </a:cubicBezTo>
                  <a:cubicBezTo>
                    <a:pt x="10540" y="1269"/>
                    <a:pt x="10542" y="1261"/>
                    <a:pt x="10542" y="1253"/>
                  </a:cubicBezTo>
                  <a:cubicBezTo>
                    <a:pt x="10543" y="1240"/>
                    <a:pt x="10543" y="1227"/>
                    <a:pt x="10540" y="1216"/>
                  </a:cubicBezTo>
                  <a:cubicBezTo>
                    <a:pt x="10518" y="1141"/>
                    <a:pt x="10548" y="1081"/>
                    <a:pt x="10594" y="1027"/>
                  </a:cubicBezTo>
                  <a:cubicBezTo>
                    <a:pt x="10634" y="979"/>
                    <a:pt x="10666" y="925"/>
                    <a:pt x="10700" y="873"/>
                  </a:cubicBezTo>
                  <a:cubicBezTo>
                    <a:pt x="10722" y="839"/>
                    <a:pt x="10718" y="807"/>
                    <a:pt x="10698" y="774"/>
                  </a:cubicBezTo>
                  <a:cubicBezTo>
                    <a:pt x="10691" y="762"/>
                    <a:pt x="10682" y="750"/>
                    <a:pt x="10675" y="737"/>
                  </a:cubicBezTo>
                  <a:cubicBezTo>
                    <a:pt x="10642" y="682"/>
                    <a:pt x="10644" y="626"/>
                    <a:pt x="10674" y="571"/>
                  </a:cubicBezTo>
                  <a:cubicBezTo>
                    <a:pt x="10697" y="528"/>
                    <a:pt x="10724" y="527"/>
                    <a:pt x="10756" y="564"/>
                  </a:cubicBezTo>
                  <a:cubicBezTo>
                    <a:pt x="10803" y="619"/>
                    <a:pt x="10836" y="679"/>
                    <a:pt x="10820" y="762"/>
                  </a:cubicBezTo>
                  <a:cubicBezTo>
                    <a:pt x="10871" y="742"/>
                    <a:pt x="10902" y="715"/>
                    <a:pt x="10917" y="672"/>
                  </a:cubicBezTo>
                  <a:cubicBezTo>
                    <a:pt x="10925" y="650"/>
                    <a:pt x="10922" y="627"/>
                    <a:pt x="10904" y="609"/>
                  </a:cubicBezTo>
                  <a:cubicBezTo>
                    <a:pt x="10884" y="589"/>
                    <a:pt x="10877" y="562"/>
                    <a:pt x="10865" y="538"/>
                  </a:cubicBezTo>
                  <a:cubicBezTo>
                    <a:pt x="10850" y="508"/>
                    <a:pt x="10850" y="478"/>
                    <a:pt x="10862" y="447"/>
                  </a:cubicBezTo>
                  <a:cubicBezTo>
                    <a:pt x="10872" y="420"/>
                    <a:pt x="10880" y="392"/>
                    <a:pt x="10889" y="364"/>
                  </a:cubicBezTo>
                  <a:cubicBezTo>
                    <a:pt x="10901" y="330"/>
                    <a:pt x="10912" y="326"/>
                    <a:pt x="10943" y="348"/>
                  </a:cubicBezTo>
                  <a:cubicBezTo>
                    <a:pt x="11031" y="410"/>
                    <a:pt x="11053" y="485"/>
                    <a:pt x="11014" y="587"/>
                  </a:cubicBezTo>
                  <a:cubicBezTo>
                    <a:pt x="11013" y="590"/>
                    <a:pt x="11014" y="595"/>
                    <a:pt x="11015" y="599"/>
                  </a:cubicBezTo>
                  <a:cubicBezTo>
                    <a:pt x="11025" y="610"/>
                    <a:pt x="11038" y="608"/>
                    <a:pt x="11049" y="603"/>
                  </a:cubicBezTo>
                  <a:cubicBezTo>
                    <a:pt x="11074" y="591"/>
                    <a:pt x="11101" y="586"/>
                    <a:pt x="11128" y="585"/>
                  </a:cubicBezTo>
                  <a:cubicBezTo>
                    <a:pt x="11150" y="584"/>
                    <a:pt x="11167" y="577"/>
                    <a:pt x="11184" y="562"/>
                  </a:cubicBezTo>
                  <a:cubicBezTo>
                    <a:pt x="11199" y="549"/>
                    <a:pt x="11220" y="541"/>
                    <a:pt x="11236" y="527"/>
                  </a:cubicBezTo>
                  <a:cubicBezTo>
                    <a:pt x="11285" y="485"/>
                    <a:pt x="11340" y="500"/>
                    <a:pt x="11395" y="509"/>
                  </a:cubicBezTo>
                  <a:cubicBezTo>
                    <a:pt x="11420" y="513"/>
                    <a:pt x="11427" y="529"/>
                    <a:pt x="11417" y="550"/>
                  </a:cubicBezTo>
                  <a:cubicBezTo>
                    <a:pt x="11405" y="572"/>
                    <a:pt x="11395" y="594"/>
                    <a:pt x="11378" y="614"/>
                  </a:cubicBezTo>
                  <a:cubicBezTo>
                    <a:pt x="11368" y="625"/>
                    <a:pt x="11351" y="638"/>
                    <a:pt x="11363" y="657"/>
                  </a:cubicBezTo>
                  <a:cubicBezTo>
                    <a:pt x="11372" y="671"/>
                    <a:pt x="11389" y="668"/>
                    <a:pt x="11403" y="668"/>
                  </a:cubicBezTo>
                  <a:cubicBezTo>
                    <a:pt x="11452" y="668"/>
                    <a:pt x="11493" y="697"/>
                    <a:pt x="11504" y="741"/>
                  </a:cubicBezTo>
                  <a:cubicBezTo>
                    <a:pt x="11509" y="759"/>
                    <a:pt x="11505" y="778"/>
                    <a:pt x="11506" y="797"/>
                  </a:cubicBezTo>
                  <a:cubicBezTo>
                    <a:pt x="11506" y="806"/>
                    <a:pt x="11509" y="813"/>
                    <a:pt x="11518" y="816"/>
                  </a:cubicBezTo>
                  <a:cubicBezTo>
                    <a:pt x="11528" y="820"/>
                    <a:pt x="11535" y="816"/>
                    <a:pt x="11540" y="809"/>
                  </a:cubicBezTo>
                  <a:cubicBezTo>
                    <a:pt x="11583" y="752"/>
                    <a:pt x="11606" y="651"/>
                    <a:pt x="11550" y="589"/>
                  </a:cubicBezTo>
                  <a:cubicBezTo>
                    <a:pt x="11505" y="539"/>
                    <a:pt x="11475" y="479"/>
                    <a:pt x="11448" y="419"/>
                  </a:cubicBezTo>
                  <a:cubicBezTo>
                    <a:pt x="11443" y="407"/>
                    <a:pt x="11436" y="395"/>
                    <a:pt x="11446" y="384"/>
                  </a:cubicBezTo>
                  <a:cubicBezTo>
                    <a:pt x="11456" y="374"/>
                    <a:pt x="11470" y="374"/>
                    <a:pt x="11481" y="378"/>
                  </a:cubicBezTo>
                  <a:cubicBezTo>
                    <a:pt x="11524" y="395"/>
                    <a:pt x="11567" y="411"/>
                    <a:pt x="11606" y="435"/>
                  </a:cubicBezTo>
                  <a:cubicBezTo>
                    <a:pt x="11623" y="445"/>
                    <a:pt x="11625" y="461"/>
                    <a:pt x="11627" y="478"/>
                  </a:cubicBezTo>
                  <a:cubicBezTo>
                    <a:pt x="11628" y="490"/>
                    <a:pt x="11629" y="503"/>
                    <a:pt x="11631" y="515"/>
                  </a:cubicBezTo>
                  <a:cubicBezTo>
                    <a:pt x="11633" y="523"/>
                    <a:pt x="11636" y="531"/>
                    <a:pt x="11645" y="534"/>
                  </a:cubicBezTo>
                  <a:cubicBezTo>
                    <a:pt x="11657" y="537"/>
                    <a:pt x="11666" y="530"/>
                    <a:pt x="11670" y="520"/>
                  </a:cubicBezTo>
                  <a:cubicBezTo>
                    <a:pt x="11685" y="474"/>
                    <a:pt x="11695" y="427"/>
                    <a:pt x="11668" y="382"/>
                  </a:cubicBezTo>
                  <a:cubicBezTo>
                    <a:pt x="11656" y="361"/>
                    <a:pt x="11641" y="341"/>
                    <a:pt x="11625" y="321"/>
                  </a:cubicBezTo>
                  <a:cubicBezTo>
                    <a:pt x="11584" y="270"/>
                    <a:pt x="11558" y="216"/>
                    <a:pt x="11581" y="149"/>
                  </a:cubicBezTo>
                  <a:cubicBezTo>
                    <a:pt x="11593" y="114"/>
                    <a:pt x="11592" y="80"/>
                    <a:pt x="11585" y="45"/>
                  </a:cubicBezTo>
                  <a:cubicBezTo>
                    <a:pt x="11580" y="18"/>
                    <a:pt x="11603" y="0"/>
                    <a:pt x="11622" y="13"/>
                  </a:cubicBezTo>
                  <a:cubicBezTo>
                    <a:pt x="11690" y="63"/>
                    <a:pt x="11764" y="111"/>
                    <a:pt x="11788" y="200"/>
                  </a:cubicBezTo>
                  <a:cubicBezTo>
                    <a:pt x="11809" y="278"/>
                    <a:pt x="11793" y="352"/>
                    <a:pt x="11758" y="423"/>
                  </a:cubicBezTo>
                  <a:cubicBezTo>
                    <a:pt x="11750" y="440"/>
                    <a:pt x="11738" y="455"/>
                    <a:pt x="11740" y="475"/>
                  </a:cubicBezTo>
                  <a:cubicBezTo>
                    <a:pt x="11740" y="481"/>
                    <a:pt x="11743" y="488"/>
                    <a:pt x="11748" y="491"/>
                  </a:cubicBezTo>
                  <a:cubicBezTo>
                    <a:pt x="11755" y="497"/>
                    <a:pt x="11764" y="494"/>
                    <a:pt x="11770" y="488"/>
                  </a:cubicBezTo>
                  <a:cubicBezTo>
                    <a:pt x="11793" y="464"/>
                    <a:pt x="11808" y="434"/>
                    <a:pt x="11823" y="404"/>
                  </a:cubicBezTo>
                  <a:cubicBezTo>
                    <a:pt x="11850" y="350"/>
                    <a:pt x="11928" y="313"/>
                    <a:pt x="11986" y="325"/>
                  </a:cubicBezTo>
                  <a:cubicBezTo>
                    <a:pt x="12000" y="328"/>
                    <a:pt x="12008" y="336"/>
                    <a:pt x="12006" y="351"/>
                  </a:cubicBezTo>
                  <a:cubicBezTo>
                    <a:pt x="11994" y="445"/>
                    <a:pt x="11974" y="536"/>
                    <a:pt x="11906" y="608"/>
                  </a:cubicBezTo>
                  <a:cubicBezTo>
                    <a:pt x="11886" y="629"/>
                    <a:pt x="11859" y="634"/>
                    <a:pt x="11832" y="639"/>
                  </a:cubicBezTo>
                  <a:cubicBezTo>
                    <a:pt x="11744" y="655"/>
                    <a:pt x="11691" y="714"/>
                    <a:pt x="11647" y="785"/>
                  </a:cubicBezTo>
                  <a:cubicBezTo>
                    <a:pt x="11641" y="796"/>
                    <a:pt x="11626" y="811"/>
                    <a:pt x="11642" y="823"/>
                  </a:cubicBezTo>
                  <a:cubicBezTo>
                    <a:pt x="11656" y="834"/>
                    <a:pt x="11669" y="819"/>
                    <a:pt x="11681" y="811"/>
                  </a:cubicBezTo>
                  <a:cubicBezTo>
                    <a:pt x="11699" y="798"/>
                    <a:pt x="11717" y="783"/>
                    <a:pt x="11736" y="770"/>
                  </a:cubicBezTo>
                  <a:cubicBezTo>
                    <a:pt x="11779" y="741"/>
                    <a:pt x="11862" y="750"/>
                    <a:pt x="11898" y="786"/>
                  </a:cubicBezTo>
                  <a:cubicBezTo>
                    <a:pt x="11907" y="795"/>
                    <a:pt x="11905" y="806"/>
                    <a:pt x="11898" y="814"/>
                  </a:cubicBezTo>
                  <a:cubicBezTo>
                    <a:pt x="11846" y="872"/>
                    <a:pt x="11799" y="938"/>
                    <a:pt x="11724" y="969"/>
                  </a:cubicBezTo>
                  <a:cubicBezTo>
                    <a:pt x="11683" y="986"/>
                    <a:pt x="11637" y="982"/>
                    <a:pt x="11594" y="978"/>
                  </a:cubicBezTo>
                  <a:cubicBezTo>
                    <a:pt x="11545" y="973"/>
                    <a:pt x="11511" y="985"/>
                    <a:pt x="11482" y="1026"/>
                  </a:cubicBezTo>
                  <a:cubicBezTo>
                    <a:pt x="11461" y="1056"/>
                    <a:pt x="11432" y="1081"/>
                    <a:pt x="11409" y="1111"/>
                  </a:cubicBezTo>
                  <a:cubicBezTo>
                    <a:pt x="11323" y="1218"/>
                    <a:pt x="11209" y="1283"/>
                    <a:pt x="11078" y="1320"/>
                  </a:cubicBezTo>
                  <a:cubicBezTo>
                    <a:pt x="11034" y="1333"/>
                    <a:pt x="10991" y="1349"/>
                    <a:pt x="10953" y="1375"/>
                  </a:cubicBezTo>
                  <a:cubicBezTo>
                    <a:pt x="10944" y="1381"/>
                    <a:pt x="10935" y="1387"/>
                    <a:pt x="10941" y="1399"/>
                  </a:cubicBezTo>
                  <a:cubicBezTo>
                    <a:pt x="10945" y="1408"/>
                    <a:pt x="10953" y="1410"/>
                    <a:pt x="10962" y="1410"/>
                  </a:cubicBezTo>
                  <a:cubicBezTo>
                    <a:pt x="10993" y="1409"/>
                    <a:pt x="11023" y="1408"/>
                    <a:pt x="11052" y="1425"/>
                  </a:cubicBezTo>
                  <a:cubicBezTo>
                    <a:pt x="11076" y="1439"/>
                    <a:pt x="11097" y="1453"/>
                    <a:pt x="11114" y="1476"/>
                  </a:cubicBezTo>
                  <a:cubicBezTo>
                    <a:pt x="11148" y="1522"/>
                    <a:pt x="11159" y="1526"/>
                    <a:pt x="11207" y="1500"/>
                  </a:cubicBezTo>
                  <a:cubicBezTo>
                    <a:pt x="11282" y="1460"/>
                    <a:pt x="11351" y="1470"/>
                    <a:pt x="11418" y="1516"/>
                  </a:cubicBezTo>
                  <a:cubicBezTo>
                    <a:pt x="11444" y="1533"/>
                    <a:pt x="11472" y="1547"/>
                    <a:pt x="11502" y="1557"/>
                  </a:cubicBezTo>
                  <a:cubicBezTo>
                    <a:pt x="11518" y="1563"/>
                    <a:pt x="11534" y="1569"/>
                    <a:pt x="11535" y="1589"/>
                  </a:cubicBezTo>
                  <a:cubicBezTo>
                    <a:pt x="11536" y="1606"/>
                    <a:pt x="11525" y="1618"/>
                    <a:pt x="11512" y="1624"/>
                  </a:cubicBezTo>
                  <a:cubicBezTo>
                    <a:pt x="11455" y="1648"/>
                    <a:pt x="11400" y="1680"/>
                    <a:pt x="11336" y="1684"/>
                  </a:cubicBezTo>
                  <a:cubicBezTo>
                    <a:pt x="11296" y="1686"/>
                    <a:pt x="11263" y="1679"/>
                    <a:pt x="11235" y="1647"/>
                  </a:cubicBezTo>
                  <a:cubicBezTo>
                    <a:pt x="11222" y="1631"/>
                    <a:pt x="11203" y="1612"/>
                    <a:pt x="11183" y="1623"/>
                  </a:cubicBezTo>
                  <a:cubicBezTo>
                    <a:pt x="11161" y="1637"/>
                    <a:pt x="11178" y="1661"/>
                    <a:pt x="11182" y="1681"/>
                  </a:cubicBezTo>
                  <a:cubicBezTo>
                    <a:pt x="11183" y="1689"/>
                    <a:pt x="11189" y="1696"/>
                    <a:pt x="11190" y="1704"/>
                  </a:cubicBezTo>
                  <a:cubicBezTo>
                    <a:pt x="11195" y="1754"/>
                    <a:pt x="11223" y="1776"/>
                    <a:pt x="11272" y="1780"/>
                  </a:cubicBezTo>
                  <a:cubicBezTo>
                    <a:pt x="11329" y="1784"/>
                    <a:pt x="11363" y="1825"/>
                    <a:pt x="11396" y="1866"/>
                  </a:cubicBezTo>
                  <a:cubicBezTo>
                    <a:pt x="11409" y="1882"/>
                    <a:pt x="11420" y="1900"/>
                    <a:pt x="11433" y="1916"/>
                  </a:cubicBezTo>
                  <a:cubicBezTo>
                    <a:pt x="11457" y="1947"/>
                    <a:pt x="11450" y="1976"/>
                    <a:pt x="11411" y="1982"/>
                  </a:cubicBezTo>
                  <a:cubicBezTo>
                    <a:pt x="11345" y="1992"/>
                    <a:pt x="11281" y="1989"/>
                    <a:pt x="11237" y="1926"/>
                  </a:cubicBezTo>
                  <a:cubicBezTo>
                    <a:pt x="11226" y="1910"/>
                    <a:pt x="11219" y="1881"/>
                    <a:pt x="11192" y="1897"/>
                  </a:cubicBezTo>
                  <a:cubicBezTo>
                    <a:pt x="11169" y="1911"/>
                    <a:pt x="11180" y="1938"/>
                    <a:pt x="11189" y="1959"/>
                  </a:cubicBezTo>
                  <a:cubicBezTo>
                    <a:pt x="11197" y="1978"/>
                    <a:pt x="11208" y="1996"/>
                    <a:pt x="11222" y="2012"/>
                  </a:cubicBezTo>
                  <a:cubicBezTo>
                    <a:pt x="11258" y="2056"/>
                    <a:pt x="11242" y="2100"/>
                    <a:pt x="11219" y="2140"/>
                  </a:cubicBezTo>
                  <a:cubicBezTo>
                    <a:pt x="11194" y="2184"/>
                    <a:pt x="11161" y="2224"/>
                    <a:pt x="11129" y="2268"/>
                  </a:cubicBezTo>
                  <a:cubicBezTo>
                    <a:pt x="11084" y="2226"/>
                    <a:pt x="11055" y="2179"/>
                    <a:pt x="11036" y="2126"/>
                  </a:cubicBezTo>
                  <a:cubicBezTo>
                    <a:pt x="11023" y="2092"/>
                    <a:pt x="11027" y="2057"/>
                    <a:pt x="11047" y="2024"/>
                  </a:cubicBezTo>
                  <a:cubicBezTo>
                    <a:pt x="11062" y="1999"/>
                    <a:pt x="11073" y="1972"/>
                    <a:pt x="11084" y="1945"/>
                  </a:cubicBezTo>
                  <a:cubicBezTo>
                    <a:pt x="11088" y="1935"/>
                    <a:pt x="11084" y="1924"/>
                    <a:pt x="11074" y="1919"/>
                  </a:cubicBezTo>
                  <a:cubicBezTo>
                    <a:pt x="11066" y="1915"/>
                    <a:pt x="11057" y="1919"/>
                    <a:pt x="11051" y="1925"/>
                  </a:cubicBezTo>
                  <a:cubicBezTo>
                    <a:pt x="11022" y="1951"/>
                    <a:pt x="10993" y="1979"/>
                    <a:pt x="10964" y="2005"/>
                  </a:cubicBezTo>
                  <a:cubicBezTo>
                    <a:pt x="10955" y="2013"/>
                    <a:pt x="10944" y="2022"/>
                    <a:pt x="10931" y="2018"/>
                  </a:cubicBezTo>
                  <a:cubicBezTo>
                    <a:pt x="10917" y="2013"/>
                    <a:pt x="10917" y="1999"/>
                    <a:pt x="10916" y="1987"/>
                  </a:cubicBezTo>
                  <a:cubicBezTo>
                    <a:pt x="10910" y="1919"/>
                    <a:pt x="10911" y="1854"/>
                    <a:pt x="10967" y="1802"/>
                  </a:cubicBezTo>
                  <a:cubicBezTo>
                    <a:pt x="10996" y="1775"/>
                    <a:pt x="11032" y="1767"/>
                    <a:pt x="11065" y="1752"/>
                  </a:cubicBezTo>
                  <a:cubicBezTo>
                    <a:pt x="11085" y="1743"/>
                    <a:pt x="11104" y="1735"/>
                    <a:pt x="11106" y="1710"/>
                  </a:cubicBezTo>
                  <a:cubicBezTo>
                    <a:pt x="11107" y="1698"/>
                    <a:pt x="11108" y="1685"/>
                    <a:pt x="11094" y="1678"/>
                  </a:cubicBezTo>
                  <a:cubicBezTo>
                    <a:pt x="11081" y="1671"/>
                    <a:pt x="11070" y="1677"/>
                    <a:pt x="11062" y="1688"/>
                  </a:cubicBezTo>
                  <a:cubicBezTo>
                    <a:pt x="11023" y="1739"/>
                    <a:pt x="10961" y="1760"/>
                    <a:pt x="10916" y="1803"/>
                  </a:cubicBezTo>
                  <a:cubicBezTo>
                    <a:pt x="10905" y="1814"/>
                    <a:pt x="10888" y="1809"/>
                    <a:pt x="10887" y="1795"/>
                  </a:cubicBezTo>
                  <a:cubicBezTo>
                    <a:pt x="10884" y="1740"/>
                    <a:pt x="10869" y="1683"/>
                    <a:pt x="10904" y="1631"/>
                  </a:cubicBezTo>
                  <a:cubicBezTo>
                    <a:pt x="10920" y="1607"/>
                    <a:pt x="10939" y="1586"/>
                    <a:pt x="10968" y="1575"/>
                  </a:cubicBezTo>
                  <a:cubicBezTo>
                    <a:pt x="10984" y="1569"/>
                    <a:pt x="11001" y="1559"/>
                    <a:pt x="10998" y="1540"/>
                  </a:cubicBezTo>
                  <a:cubicBezTo>
                    <a:pt x="10995" y="1515"/>
                    <a:pt x="10972" y="1516"/>
                    <a:pt x="10954" y="1514"/>
                  </a:cubicBezTo>
                  <a:cubicBezTo>
                    <a:pt x="10910" y="1509"/>
                    <a:pt x="10868" y="1516"/>
                    <a:pt x="10826" y="1534"/>
                  </a:cubicBezTo>
                  <a:cubicBezTo>
                    <a:pt x="10758" y="1563"/>
                    <a:pt x="10706" y="1615"/>
                    <a:pt x="10648" y="1658"/>
                  </a:cubicBezTo>
                  <a:cubicBezTo>
                    <a:pt x="10592" y="1698"/>
                    <a:pt x="10533" y="1733"/>
                    <a:pt x="10497" y="1795"/>
                  </a:cubicBezTo>
                  <a:cubicBezTo>
                    <a:pt x="10452" y="1873"/>
                    <a:pt x="10409" y="1951"/>
                    <a:pt x="10415" y="2046"/>
                  </a:cubicBezTo>
                  <a:cubicBezTo>
                    <a:pt x="10419" y="2110"/>
                    <a:pt x="10442" y="2162"/>
                    <a:pt x="10493" y="2203"/>
                  </a:cubicBezTo>
                  <a:cubicBezTo>
                    <a:pt x="10518" y="2223"/>
                    <a:pt x="10548" y="2239"/>
                    <a:pt x="10569" y="2266"/>
                  </a:cubicBezTo>
                  <a:cubicBezTo>
                    <a:pt x="10604" y="2313"/>
                    <a:pt x="10631" y="2361"/>
                    <a:pt x="10640" y="2422"/>
                  </a:cubicBezTo>
                  <a:cubicBezTo>
                    <a:pt x="10660" y="2548"/>
                    <a:pt x="10715" y="2663"/>
                    <a:pt x="10781" y="2772"/>
                  </a:cubicBezTo>
                  <a:cubicBezTo>
                    <a:pt x="10800" y="2804"/>
                    <a:pt x="10819" y="2836"/>
                    <a:pt x="10841" y="2866"/>
                  </a:cubicBezTo>
                  <a:cubicBezTo>
                    <a:pt x="10870" y="2907"/>
                    <a:pt x="10886" y="2912"/>
                    <a:pt x="10929" y="2887"/>
                  </a:cubicBezTo>
                  <a:cubicBezTo>
                    <a:pt x="10990" y="2852"/>
                    <a:pt x="11044" y="2852"/>
                    <a:pt x="11085" y="2927"/>
                  </a:cubicBezTo>
                  <a:cubicBezTo>
                    <a:pt x="11090" y="2934"/>
                    <a:pt x="11095" y="2942"/>
                    <a:pt x="11104" y="2940"/>
                  </a:cubicBezTo>
                  <a:cubicBezTo>
                    <a:pt x="11120" y="2936"/>
                    <a:pt x="11120" y="2922"/>
                    <a:pt x="11119" y="2910"/>
                  </a:cubicBezTo>
                  <a:cubicBezTo>
                    <a:pt x="11114" y="2850"/>
                    <a:pt x="11045" y="2778"/>
                    <a:pt x="10984" y="2772"/>
                  </a:cubicBezTo>
                  <a:cubicBezTo>
                    <a:pt x="10976" y="2771"/>
                    <a:pt x="10967" y="2769"/>
                    <a:pt x="10959" y="2770"/>
                  </a:cubicBezTo>
                  <a:cubicBezTo>
                    <a:pt x="10879" y="2787"/>
                    <a:pt x="10832" y="2731"/>
                    <a:pt x="10779" y="2689"/>
                  </a:cubicBezTo>
                  <a:cubicBezTo>
                    <a:pt x="10758" y="2672"/>
                    <a:pt x="10772" y="2641"/>
                    <a:pt x="10805" y="2638"/>
                  </a:cubicBezTo>
                  <a:cubicBezTo>
                    <a:pt x="10848" y="2634"/>
                    <a:pt x="10892" y="2626"/>
                    <a:pt x="10932" y="2654"/>
                  </a:cubicBezTo>
                  <a:cubicBezTo>
                    <a:pt x="10942" y="2661"/>
                    <a:pt x="10955" y="2669"/>
                    <a:pt x="10965" y="2656"/>
                  </a:cubicBezTo>
                  <a:cubicBezTo>
                    <a:pt x="10976" y="2642"/>
                    <a:pt x="10969" y="2627"/>
                    <a:pt x="10958" y="2617"/>
                  </a:cubicBezTo>
                  <a:cubicBezTo>
                    <a:pt x="10944" y="2604"/>
                    <a:pt x="10930" y="2589"/>
                    <a:pt x="10913" y="2583"/>
                  </a:cubicBezTo>
                  <a:cubicBezTo>
                    <a:pt x="10830" y="2554"/>
                    <a:pt x="10811" y="2485"/>
                    <a:pt x="10806" y="2409"/>
                  </a:cubicBezTo>
                  <a:cubicBezTo>
                    <a:pt x="10804" y="2368"/>
                    <a:pt x="10811" y="2326"/>
                    <a:pt x="10795" y="2286"/>
                  </a:cubicBezTo>
                  <a:cubicBezTo>
                    <a:pt x="10791" y="2275"/>
                    <a:pt x="10795" y="2265"/>
                    <a:pt x="10803" y="2258"/>
                  </a:cubicBezTo>
                  <a:cubicBezTo>
                    <a:pt x="10810" y="2251"/>
                    <a:pt x="10818" y="2253"/>
                    <a:pt x="10825" y="2258"/>
                  </a:cubicBezTo>
                  <a:cubicBezTo>
                    <a:pt x="10876" y="2295"/>
                    <a:pt x="10927" y="2331"/>
                    <a:pt x="10977" y="2367"/>
                  </a:cubicBezTo>
                  <a:cubicBezTo>
                    <a:pt x="11031" y="2405"/>
                    <a:pt x="11047" y="2458"/>
                    <a:pt x="11035" y="2520"/>
                  </a:cubicBezTo>
                  <a:cubicBezTo>
                    <a:pt x="11029" y="2555"/>
                    <a:pt x="11037" y="2586"/>
                    <a:pt x="11054" y="2616"/>
                  </a:cubicBezTo>
                  <a:cubicBezTo>
                    <a:pt x="11059" y="2626"/>
                    <a:pt x="11065" y="2634"/>
                    <a:pt x="11077" y="2634"/>
                  </a:cubicBezTo>
                  <a:cubicBezTo>
                    <a:pt x="11091" y="2633"/>
                    <a:pt x="11100" y="2623"/>
                    <a:pt x="11103" y="2611"/>
                  </a:cubicBezTo>
                  <a:cubicBezTo>
                    <a:pt x="11106" y="2599"/>
                    <a:pt x="11105" y="2586"/>
                    <a:pt x="11105" y="2574"/>
                  </a:cubicBezTo>
                  <a:cubicBezTo>
                    <a:pt x="11106" y="2557"/>
                    <a:pt x="11105" y="2540"/>
                    <a:pt x="11105" y="2524"/>
                  </a:cubicBezTo>
                  <a:cubicBezTo>
                    <a:pt x="11108" y="2446"/>
                    <a:pt x="11130" y="2420"/>
                    <a:pt x="11206" y="2406"/>
                  </a:cubicBezTo>
                  <a:cubicBezTo>
                    <a:pt x="11239" y="2400"/>
                    <a:pt x="11255" y="2409"/>
                    <a:pt x="11256" y="2442"/>
                  </a:cubicBezTo>
                  <a:cubicBezTo>
                    <a:pt x="11257" y="2486"/>
                    <a:pt x="11263" y="2529"/>
                    <a:pt x="11268" y="2572"/>
                  </a:cubicBezTo>
                  <a:cubicBezTo>
                    <a:pt x="11274" y="2630"/>
                    <a:pt x="11246" y="2674"/>
                    <a:pt x="11205" y="2708"/>
                  </a:cubicBezTo>
                  <a:cubicBezTo>
                    <a:pt x="11169" y="2738"/>
                    <a:pt x="11162" y="2766"/>
                    <a:pt x="11186" y="2805"/>
                  </a:cubicBezTo>
                  <a:cubicBezTo>
                    <a:pt x="11203" y="2831"/>
                    <a:pt x="11188" y="2868"/>
                    <a:pt x="11219" y="2898"/>
                  </a:cubicBezTo>
                  <a:cubicBezTo>
                    <a:pt x="11263" y="2838"/>
                    <a:pt x="11266" y="2763"/>
                    <a:pt x="11297" y="2698"/>
                  </a:cubicBezTo>
                  <a:cubicBezTo>
                    <a:pt x="11323" y="2710"/>
                    <a:pt x="11334" y="2733"/>
                    <a:pt x="11349" y="2753"/>
                  </a:cubicBezTo>
                  <a:cubicBezTo>
                    <a:pt x="11384" y="2799"/>
                    <a:pt x="11479" y="2805"/>
                    <a:pt x="11521" y="2764"/>
                  </a:cubicBezTo>
                  <a:cubicBezTo>
                    <a:pt x="11571" y="2715"/>
                    <a:pt x="11626" y="2679"/>
                    <a:pt x="11700" y="2676"/>
                  </a:cubicBezTo>
                  <a:cubicBezTo>
                    <a:pt x="11743" y="2674"/>
                    <a:pt x="11777" y="2685"/>
                    <a:pt x="11806" y="2716"/>
                  </a:cubicBezTo>
                  <a:cubicBezTo>
                    <a:pt x="11817" y="2727"/>
                    <a:pt x="11827" y="2742"/>
                    <a:pt x="11846" y="2744"/>
                  </a:cubicBezTo>
                  <a:cubicBezTo>
                    <a:pt x="11851" y="2677"/>
                    <a:pt x="11802" y="2616"/>
                    <a:pt x="11738" y="2610"/>
                  </a:cubicBezTo>
                  <a:cubicBezTo>
                    <a:pt x="11718" y="2608"/>
                    <a:pt x="11696" y="2608"/>
                    <a:pt x="11676" y="2612"/>
                  </a:cubicBezTo>
                  <a:cubicBezTo>
                    <a:pt x="11617" y="2623"/>
                    <a:pt x="11561" y="2613"/>
                    <a:pt x="11506" y="2591"/>
                  </a:cubicBezTo>
                  <a:cubicBezTo>
                    <a:pt x="11489" y="2584"/>
                    <a:pt x="11470" y="2582"/>
                    <a:pt x="11452" y="2577"/>
                  </a:cubicBezTo>
                  <a:cubicBezTo>
                    <a:pt x="11427" y="2569"/>
                    <a:pt x="11421" y="2553"/>
                    <a:pt x="11441" y="2537"/>
                  </a:cubicBezTo>
                  <a:cubicBezTo>
                    <a:pt x="11468" y="2515"/>
                    <a:pt x="11483" y="2478"/>
                    <a:pt x="11523" y="2474"/>
                  </a:cubicBezTo>
                  <a:cubicBezTo>
                    <a:pt x="11534" y="2473"/>
                    <a:pt x="11543" y="2467"/>
                    <a:pt x="11544" y="2455"/>
                  </a:cubicBezTo>
                  <a:cubicBezTo>
                    <a:pt x="11545" y="2443"/>
                    <a:pt x="11538" y="2435"/>
                    <a:pt x="11527" y="2432"/>
                  </a:cubicBezTo>
                  <a:cubicBezTo>
                    <a:pt x="11448" y="2407"/>
                    <a:pt x="11406" y="2332"/>
                    <a:pt x="11341" y="2288"/>
                  </a:cubicBezTo>
                  <a:cubicBezTo>
                    <a:pt x="11321" y="2274"/>
                    <a:pt x="11327" y="2257"/>
                    <a:pt x="11352" y="2248"/>
                  </a:cubicBezTo>
                  <a:cubicBezTo>
                    <a:pt x="11427" y="2221"/>
                    <a:pt x="11504" y="2229"/>
                    <a:pt x="11580" y="2242"/>
                  </a:cubicBezTo>
                  <a:cubicBezTo>
                    <a:pt x="11604" y="2246"/>
                    <a:pt x="11617" y="2266"/>
                    <a:pt x="11630" y="2286"/>
                  </a:cubicBezTo>
                  <a:cubicBezTo>
                    <a:pt x="11663" y="2337"/>
                    <a:pt x="11696" y="2387"/>
                    <a:pt x="11749" y="2420"/>
                  </a:cubicBezTo>
                  <a:cubicBezTo>
                    <a:pt x="11756" y="2425"/>
                    <a:pt x="11761" y="2431"/>
                    <a:pt x="11769" y="2435"/>
                  </a:cubicBezTo>
                  <a:cubicBezTo>
                    <a:pt x="11782" y="2442"/>
                    <a:pt x="11797" y="2444"/>
                    <a:pt x="11810" y="2434"/>
                  </a:cubicBezTo>
                  <a:cubicBezTo>
                    <a:pt x="11821" y="2424"/>
                    <a:pt x="11821" y="2411"/>
                    <a:pt x="11816" y="2399"/>
                  </a:cubicBezTo>
                  <a:cubicBezTo>
                    <a:pt x="11803" y="2367"/>
                    <a:pt x="11802" y="2334"/>
                    <a:pt x="11806" y="2301"/>
                  </a:cubicBezTo>
                  <a:cubicBezTo>
                    <a:pt x="11813" y="2253"/>
                    <a:pt x="11829" y="2236"/>
                    <a:pt x="11877" y="2227"/>
                  </a:cubicBezTo>
                  <a:cubicBezTo>
                    <a:pt x="11956" y="2211"/>
                    <a:pt x="11956" y="2211"/>
                    <a:pt x="11980" y="2290"/>
                  </a:cubicBezTo>
                  <a:cubicBezTo>
                    <a:pt x="11982" y="2296"/>
                    <a:pt x="11983" y="2303"/>
                    <a:pt x="11986" y="2308"/>
                  </a:cubicBezTo>
                  <a:cubicBezTo>
                    <a:pt x="12015" y="2375"/>
                    <a:pt x="11996" y="2430"/>
                    <a:pt x="11946" y="2478"/>
                  </a:cubicBezTo>
                  <a:cubicBezTo>
                    <a:pt x="11927" y="2497"/>
                    <a:pt x="11906" y="2514"/>
                    <a:pt x="11887" y="2533"/>
                  </a:cubicBezTo>
                  <a:cubicBezTo>
                    <a:pt x="11873" y="2546"/>
                    <a:pt x="11862" y="2561"/>
                    <a:pt x="11877" y="2582"/>
                  </a:cubicBezTo>
                  <a:cubicBezTo>
                    <a:pt x="11897" y="2611"/>
                    <a:pt x="11914" y="2642"/>
                    <a:pt x="11926" y="2675"/>
                  </a:cubicBezTo>
                  <a:cubicBezTo>
                    <a:pt x="11931" y="2687"/>
                    <a:pt x="11940" y="2697"/>
                    <a:pt x="11955" y="2696"/>
                  </a:cubicBezTo>
                  <a:cubicBezTo>
                    <a:pt x="11973" y="2694"/>
                    <a:pt x="11977" y="2679"/>
                    <a:pt x="11978" y="2664"/>
                  </a:cubicBezTo>
                  <a:cubicBezTo>
                    <a:pt x="11981" y="2620"/>
                    <a:pt x="11986" y="2577"/>
                    <a:pt x="11985" y="2533"/>
                  </a:cubicBezTo>
                  <a:cubicBezTo>
                    <a:pt x="11985" y="2500"/>
                    <a:pt x="12001" y="2491"/>
                    <a:pt x="12028" y="2509"/>
                  </a:cubicBezTo>
                  <a:cubicBezTo>
                    <a:pt x="12056" y="2529"/>
                    <a:pt x="12091" y="2542"/>
                    <a:pt x="12110" y="2575"/>
                  </a:cubicBezTo>
                  <a:cubicBezTo>
                    <a:pt x="12146" y="2638"/>
                    <a:pt x="12123" y="2740"/>
                    <a:pt x="12062" y="2782"/>
                  </a:cubicBezTo>
                  <a:cubicBezTo>
                    <a:pt x="12045" y="2794"/>
                    <a:pt x="12027" y="2803"/>
                    <a:pt x="12010" y="2815"/>
                  </a:cubicBezTo>
                  <a:cubicBezTo>
                    <a:pt x="11967" y="2846"/>
                    <a:pt x="11964" y="2852"/>
                    <a:pt x="11982" y="2898"/>
                  </a:cubicBezTo>
                  <a:cubicBezTo>
                    <a:pt x="12000" y="2943"/>
                    <a:pt x="12007" y="2990"/>
                    <a:pt x="12017" y="3037"/>
                  </a:cubicBezTo>
                  <a:cubicBezTo>
                    <a:pt x="12033" y="3106"/>
                    <a:pt x="12032" y="3177"/>
                    <a:pt x="12033" y="3248"/>
                  </a:cubicBezTo>
                  <a:cubicBezTo>
                    <a:pt x="12034" y="3292"/>
                    <a:pt x="12054" y="3304"/>
                    <a:pt x="12091" y="3279"/>
                  </a:cubicBezTo>
                  <a:cubicBezTo>
                    <a:pt x="12145" y="3244"/>
                    <a:pt x="12177" y="3190"/>
                    <a:pt x="12201" y="3132"/>
                  </a:cubicBezTo>
                  <a:cubicBezTo>
                    <a:pt x="12219" y="3088"/>
                    <a:pt x="12226" y="3048"/>
                    <a:pt x="12209" y="2999"/>
                  </a:cubicBezTo>
                  <a:cubicBezTo>
                    <a:pt x="12181" y="2918"/>
                    <a:pt x="12232" y="2848"/>
                    <a:pt x="12299" y="2806"/>
                  </a:cubicBezTo>
                  <a:cubicBezTo>
                    <a:pt x="12316" y="2795"/>
                    <a:pt x="12334" y="2803"/>
                    <a:pt x="12338" y="2822"/>
                  </a:cubicBezTo>
                  <a:cubicBezTo>
                    <a:pt x="12348" y="2873"/>
                    <a:pt x="12371" y="2920"/>
                    <a:pt x="12376" y="2973"/>
                  </a:cubicBezTo>
                  <a:cubicBezTo>
                    <a:pt x="12377" y="2997"/>
                    <a:pt x="12369" y="3014"/>
                    <a:pt x="12354" y="3029"/>
                  </a:cubicBezTo>
                  <a:cubicBezTo>
                    <a:pt x="12336" y="3046"/>
                    <a:pt x="12322" y="3067"/>
                    <a:pt x="12308" y="3087"/>
                  </a:cubicBezTo>
                  <a:cubicBezTo>
                    <a:pt x="12303" y="3096"/>
                    <a:pt x="12294" y="3105"/>
                    <a:pt x="12300" y="3116"/>
                  </a:cubicBezTo>
                  <a:cubicBezTo>
                    <a:pt x="12307" y="3128"/>
                    <a:pt x="12321" y="3127"/>
                    <a:pt x="12334" y="3126"/>
                  </a:cubicBezTo>
                  <a:cubicBezTo>
                    <a:pt x="12354" y="3123"/>
                    <a:pt x="12374" y="3117"/>
                    <a:pt x="12395" y="3115"/>
                  </a:cubicBezTo>
                  <a:cubicBezTo>
                    <a:pt x="12416" y="3112"/>
                    <a:pt x="12436" y="3110"/>
                    <a:pt x="12457" y="3111"/>
                  </a:cubicBezTo>
                  <a:cubicBezTo>
                    <a:pt x="12488" y="3113"/>
                    <a:pt x="12508" y="3100"/>
                    <a:pt x="12522" y="3073"/>
                  </a:cubicBezTo>
                  <a:cubicBezTo>
                    <a:pt x="12536" y="3047"/>
                    <a:pt x="12548" y="3021"/>
                    <a:pt x="12567" y="2998"/>
                  </a:cubicBezTo>
                  <a:cubicBezTo>
                    <a:pt x="12614" y="2947"/>
                    <a:pt x="12698" y="2936"/>
                    <a:pt x="12755" y="2974"/>
                  </a:cubicBezTo>
                  <a:cubicBezTo>
                    <a:pt x="12766" y="2981"/>
                    <a:pt x="12775" y="2989"/>
                    <a:pt x="12775" y="3003"/>
                  </a:cubicBezTo>
                  <a:cubicBezTo>
                    <a:pt x="12780" y="3068"/>
                    <a:pt x="12729" y="3131"/>
                    <a:pt x="12664" y="3140"/>
                  </a:cubicBezTo>
                  <a:cubicBezTo>
                    <a:pt x="12660" y="3141"/>
                    <a:pt x="12655" y="3140"/>
                    <a:pt x="12651" y="3140"/>
                  </a:cubicBezTo>
                  <a:cubicBezTo>
                    <a:pt x="12633" y="3143"/>
                    <a:pt x="12610" y="3141"/>
                    <a:pt x="12606" y="3164"/>
                  </a:cubicBezTo>
                  <a:cubicBezTo>
                    <a:pt x="12601" y="3189"/>
                    <a:pt x="12626" y="3192"/>
                    <a:pt x="12640" y="3203"/>
                  </a:cubicBezTo>
                  <a:cubicBezTo>
                    <a:pt x="12681" y="3234"/>
                    <a:pt x="12726" y="3250"/>
                    <a:pt x="12778" y="3252"/>
                  </a:cubicBezTo>
                  <a:cubicBezTo>
                    <a:pt x="12819" y="3253"/>
                    <a:pt x="12854" y="3275"/>
                    <a:pt x="12879" y="3307"/>
                  </a:cubicBezTo>
                  <a:cubicBezTo>
                    <a:pt x="12913" y="3349"/>
                    <a:pt x="12944" y="3394"/>
                    <a:pt x="12978" y="3436"/>
                  </a:cubicBezTo>
                  <a:cubicBezTo>
                    <a:pt x="12995" y="3458"/>
                    <a:pt x="12986" y="3475"/>
                    <a:pt x="12966" y="3479"/>
                  </a:cubicBezTo>
                  <a:cubicBezTo>
                    <a:pt x="12887" y="3495"/>
                    <a:pt x="12807" y="3501"/>
                    <a:pt x="12736" y="3457"/>
                  </a:cubicBezTo>
                  <a:cubicBezTo>
                    <a:pt x="12707" y="3439"/>
                    <a:pt x="12693" y="3401"/>
                    <a:pt x="12679" y="3369"/>
                  </a:cubicBezTo>
                  <a:cubicBezTo>
                    <a:pt x="12657" y="3317"/>
                    <a:pt x="12623" y="3277"/>
                    <a:pt x="12572" y="3252"/>
                  </a:cubicBezTo>
                  <a:cubicBezTo>
                    <a:pt x="12559" y="3246"/>
                    <a:pt x="12547" y="3232"/>
                    <a:pt x="12533" y="3246"/>
                  </a:cubicBezTo>
                  <a:cubicBezTo>
                    <a:pt x="12521" y="3259"/>
                    <a:pt x="12528" y="3276"/>
                    <a:pt x="12537" y="3286"/>
                  </a:cubicBezTo>
                  <a:cubicBezTo>
                    <a:pt x="12588" y="3345"/>
                    <a:pt x="12591" y="3425"/>
                    <a:pt x="12623" y="3492"/>
                  </a:cubicBezTo>
                  <a:cubicBezTo>
                    <a:pt x="12627" y="3499"/>
                    <a:pt x="12626" y="3508"/>
                    <a:pt x="12616" y="3516"/>
                  </a:cubicBezTo>
                  <a:cubicBezTo>
                    <a:pt x="12550" y="3488"/>
                    <a:pt x="12491" y="3448"/>
                    <a:pt x="12445" y="3390"/>
                  </a:cubicBezTo>
                  <a:cubicBezTo>
                    <a:pt x="12437" y="3380"/>
                    <a:pt x="12429" y="3361"/>
                    <a:pt x="12412" y="3368"/>
                  </a:cubicBezTo>
                  <a:cubicBezTo>
                    <a:pt x="12397" y="3375"/>
                    <a:pt x="12398" y="3393"/>
                    <a:pt x="12397" y="3407"/>
                  </a:cubicBezTo>
                  <a:cubicBezTo>
                    <a:pt x="12395" y="3424"/>
                    <a:pt x="12396" y="3441"/>
                    <a:pt x="12394" y="3457"/>
                  </a:cubicBezTo>
                  <a:cubicBezTo>
                    <a:pt x="12391" y="3477"/>
                    <a:pt x="12380" y="3485"/>
                    <a:pt x="12359" y="3480"/>
                  </a:cubicBezTo>
                  <a:cubicBezTo>
                    <a:pt x="12308" y="3465"/>
                    <a:pt x="12261" y="3446"/>
                    <a:pt x="12229" y="3401"/>
                  </a:cubicBezTo>
                  <a:cubicBezTo>
                    <a:pt x="12213" y="3378"/>
                    <a:pt x="12197" y="3357"/>
                    <a:pt x="12204" y="3327"/>
                  </a:cubicBezTo>
                  <a:cubicBezTo>
                    <a:pt x="12207" y="3315"/>
                    <a:pt x="12206" y="3301"/>
                    <a:pt x="12191" y="3295"/>
                  </a:cubicBezTo>
                  <a:cubicBezTo>
                    <a:pt x="12177" y="3290"/>
                    <a:pt x="12167" y="3298"/>
                    <a:pt x="12158" y="3307"/>
                  </a:cubicBezTo>
                  <a:cubicBezTo>
                    <a:pt x="12125" y="3338"/>
                    <a:pt x="12090" y="3369"/>
                    <a:pt x="12059" y="3402"/>
                  </a:cubicBezTo>
                  <a:cubicBezTo>
                    <a:pt x="11995" y="3470"/>
                    <a:pt x="11931" y="3539"/>
                    <a:pt x="11862" y="3601"/>
                  </a:cubicBezTo>
                  <a:cubicBezTo>
                    <a:pt x="11860" y="3603"/>
                    <a:pt x="11859" y="3604"/>
                    <a:pt x="11857" y="3606"/>
                  </a:cubicBezTo>
                  <a:cubicBezTo>
                    <a:pt x="11798" y="3669"/>
                    <a:pt x="11775" y="3688"/>
                    <a:pt x="11875" y="3751"/>
                  </a:cubicBezTo>
                  <a:cubicBezTo>
                    <a:pt x="11914" y="3776"/>
                    <a:pt x="11962" y="3780"/>
                    <a:pt x="12000" y="3807"/>
                  </a:cubicBezTo>
                  <a:cubicBezTo>
                    <a:pt x="12012" y="3815"/>
                    <a:pt x="12025" y="3808"/>
                    <a:pt x="12029" y="3793"/>
                  </a:cubicBezTo>
                  <a:cubicBezTo>
                    <a:pt x="12031" y="3785"/>
                    <a:pt x="12033" y="3776"/>
                    <a:pt x="12031" y="3769"/>
                  </a:cubicBezTo>
                  <a:cubicBezTo>
                    <a:pt x="12020" y="3712"/>
                    <a:pt x="12048" y="3667"/>
                    <a:pt x="12073" y="3622"/>
                  </a:cubicBezTo>
                  <a:cubicBezTo>
                    <a:pt x="12093" y="3588"/>
                    <a:pt x="12117" y="3557"/>
                    <a:pt x="12135" y="3522"/>
                  </a:cubicBezTo>
                  <a:cubicBezTo>
                    <a:pt x="12151" y="3490"/>
                    <a:pt x="12158" y="3493"/>
                    <a:pt x="12182" y="3522"/>
                  </a:cubicBezTo>
                  <a:cubicBezTo>
                    <a:pt x="12226" y="3577"/>
                    <a:pt x="12235" y="3643"/>
                    <a:pt x="12243" y="3709"/>
                  </a:cubicBezTo>
                  <a:cubicBezTo>
                    <a:pt x="12247" y="3739"/>
                    <a:pt x="12232" y="3761"/>
                    <a:pt x="12210" y="3779"/>
                  </a:cubicBezTo>
                  <a:cubicBezTo>
                    <a:pt x="12184" y="3800"/>
                    <a:pt x="12159" y="3822"/>
                    <a:pt x="12134" y="3844"/>
                  </a:cubicBezTo>
                  <a:cubicBezTo>
                    <a:pt x="12119" y="3858"/>
                    <a:pt x="12111" y="3876"/>
                    <a:pt x="12130" y="3893"/>
                  </a:cubicBezTo>
                  <a:cubicBezTo>
                    <a:pt x="12163" y="3922"/>
                    <a:pt x="12186" y="3959"/>
                    <a:pt x="12206" y="3998"/>
                  </a:cubicBezTo>
                  <a:cubicBezTo>
                    <a:pt x="12212" y="4010"/>
                    <a:pt x="12223" y="4019"/>
                    <a:pt x="12236" y="4016"/>
                  </a:cubicBezTo>
                  <a:cubicBezTo>
                    <a:pt x="12254" y="4012"/>
                    <a:pt x="12253" y="3995"/>
                    <a:pt x="12254" y="3981"/>
                  </a:cubicBezTo>
                  <a:cubicBezTo>
                    <a:pt x="12254" y="3976"/>
                    <a:pt x="12254" y="3972"/>
                    <a:pt x="12253" y="3968"/>
                  </a:cubicBezTo>
                  <a:cubicBezTo>
                    <a:pt x="12218" y="3870"/>
                    <a:pt x="12280" y="3801"/>
                    <a:pt x="12325" y="3728"/>
                  </a:cubicBezTo>
                  <a:cubicBezTo>
                    <a:pt x="12338" y="3708"/>
                    <a:pt x="12354" y="3711"/>
                    <a:pt x="12371" y="3729"/>
                  </a:cubicBezTo>
                  <a:cubicBezTo>
                    <a:pt x="12442" y="3802"/>
                    <a:pt x="12462" y="3916"/>
                    <a:pt x="12417" y="4006"/>
                  </a:cubicBezTo>
                  <a:cubicBezTo>
                    <a:pt x="12402" y="4035"/>
                    <a:pt x="12377" y="4054"/>
                    <a:pt x="12352" y="4073"/>
                  </a:cubicBezTo>
                  <a:cubicBezTo>
                    <a:pt x="12337" y="4084"/>
                    <a:pt x="12322" y="4095"/>
                    <a:pt x="12307" y="4107"/>
                  </a:cubicBezTo>
                  <a:cubicBezTo>
                    <a:pt x="12292" y="4120"/>
                    <a:pt x="12283" y="4136"/>
                    <a:pt x="12294" y="4156"/>
                  </a:cubicBezTo>
                  <a:cubicBezTo>
                    <a:pt x="12317" y="4195"/>
                    <a:pt x="12321" y="4239"/>
                    <a:pt x="12330" y="4282"/>
                  </a:cubicBezTo>
                  <a:cubicBezTo>
                    <a:pt x="12342" y="4343"/>
                    <a:pt x="12373" y="4388"/>
                    <a:pt x="12434" y="4412"/>
                  </a:cubicBezTo>
                  <a:cubicBezTo>
                    <a:pt x="12465" y="4424"/>
                    <a:pt x="12493" y="4443"/>
                    <a:pt x="12516" y="4467"/>
                  </a:cubicBezTo>
                  <a:cubicBezTo>
                    <a:pt x="12566" y="4519"/>
                    <a:pt x="12629" y="4512"/>
                    <a:pt x="12691" y="4504"/>
                  </a:cubicBezTo>
                  <a:cubicBezTo>
                    <a:pt x="12715" y="4501"/>
                    <a:pt x="12721" y="4479"/>
                    <a:pt x="12701" y="4464"/>
                  </a:cubicBezTo>
                  <a:cubicBezTo>
                    <a:pt x="12668" y="4440"/>
                    <a:pt x="12644" y="4410"/>
                    <a:pt x="12625" y="4374"/>
                  </a:cubicBezTo>
                  <a:cubicBezTo>
                    <a:pt x="12614" y="4354"/>
                    <a:pt x="12594" y="4348"/>
                    <a:pt x="12573" y="4346"/>
                  </a:cubicBezTo>
                  <a:cubicBezTo>
                    <a:pt x="12464" y="4337"/>
                    <a:pt x="12418" y="4251"/>
                    <a:pt x="12364" y="4175"/>
                  </a:cubicBezTo>
                  <a:cubicBezTo>
                    <a:pt x="12357" y="4165"/>
                    <a:pt x="12361" y="4156"/>
                    <a:pt x="12371" y="4149"/>
                  </a:cubicBezTo>
                  <a:cubicBezTo>
                    <a:pt x="12424" y="4111"/>
                    <a:pt x="12529" y="4120"/>
                    <a:pt x="12573" y="4168"/>
                  </a:cubicBezTo>
                  <a:cubicBezTo>
                    <a:pt x="12580" y="4175"/>
                    <a:pt x="12587" y="4183"/>
                    <a:pt x="12594" y="4191"/>
                  </a:cubicBezTo>
                  <a:cubicBezTo>
                    <a:pt x="12600" y="4197"/>
                    <a:pt x="12607" y="4202"/>
                    <a:pt x="12616" y="4199"/>
                  </a:cubicBezTo>
                  <a:cubicBezTo>
                    <a:pt x="12626" y="4196"/>
                    <a:pt x="12628" y="4187"/>
                    <a:pt x="12628" y="4179"/>
                  </a:cubicBezTo>
                  <a:cubicBezTo>
                    <a:pt x="12626" y="4144"/>
                    <a:pt x="12624" y="4109"/>
                    <a:pt x="12622" y="4073"/>
                  </a:cubicBezTo>
                  <a:cubicBezTo>
                    <a:pt x="12620" y="4058"/>
                    <a:pt x="12613" y="4045"/>
                    <a:pt x="12600" y="4037"/>
                  </a:cubicBezTo>
                  <a:cubicBezTo>
                    <a:pt x="12579" y="4025"/>
                    <a:pt x="12571" y="4002"/>
                    <a:pt x="12557" y="3984"/>
                  </a:cubicBezTo>
                  <a:cubicBezTo>
                    <a:pt x="12509" y="3925"/>
                    <a:pt x="12516" y="3856"/>
                    <a:pt x="12519" y="3787"/>
                  </a:cubicBezTo>
                  <a:cubicBezTo>
                    <a:pt x="12520" y="3756"/>
                    <a:pt x="12538" y="3741"/>
                    <a:pt x="12563" y="3749"/>
                  </a:cubicBezTo>
                  <a:cubicBezTo>
                    <a:pt x="12632" y="3774"/>
                    <a:pt x="12702" y="3795"/>
                    <a:pt x="12728" y="3877"/>
                  </a:cubicBezTo>
                  <a:cubicBezTo>
                    <a:pt x="12740" y="3916"/>
                    <a:pt x="12747" y="3952"/>
                    <a:pt x="12731" y="3992"/>
                  </a:cubicBezTo>
                  <a:cubicBezTo>
                    <a:pt x="12708" y="4046"/>
                    <a:pt x="12710" y="4107"/>
                    <a:pt x="12686" y="4161"/>
                  </a:cubicBezTo>
                  <a:cubicBezTo>
                    <a:pt x="12678" y="4179"/>
                    <a:pt x="12681" y="4202"/>
                    <a:pt x="12701" y="4215"/>
                  </a:cubicBezTo>
                  <a:cubicBezTo>
                    <a:pt x="12718" y="4212"/>
                    <a:pt x="12721" y="4198"/>
                    <a:pt x="12724" y="4187"/>
                  </a:cubicBezTo>
                  <a:cubicBezTo>
                    <a:pt x="12743" y="4110"/>
                    <a:pt x="12805" y="4068"/>
                    <a:pt x="12861" y="4022"/>
                  </a:cubicBezTo>
                  <a:cubicBezTo>
                    <a:pt x="12886" y="4002"/>
                    <a:pt x="12902" y="4010"/>
                    <a:pt x="12907" y="4042"/>
                  </a:cubicBezTo>
                  <a:cubicBezTo>
                    <a:pt x="12908" y="4050"/>
                    <a:pt x="12907" y="4059"/>
                    <a:pt x="12909" y="4067"/>
                  </a:cubicBezTo>
                  <a:cubicBezTo>
                    <a:pt x="12932" y="4178"/>
                    <a:pt x="12896" y="4260"/>
                    <a:pt x="12793" y="4316"/>
                  </a:cubicBezTo>
                  <a:cubicBezTo>
                    <a:pt x="12746" y="4341"/>
                    <a:pt x="12748" y="4361"/>
                    <a:pt x="12791" y="4392"/>
                  </a:cubicBezTo>
                  <a:cubicBezTo>
                    <a:pt x="12821" y="4414"/>
                    <a:pt x="12851" y="4435"/>
                    <a:pt x="12891" y="4440"/>
                  </a:cubicBezTo>
                  <a:cubicBezTo>
                    <a:pt x="12923" y="4443"/>
                    <a:pt x="12951" y="4465"/>
                    <a:pt x="12983" y="4476"/>
                  </a:cubicBezTo>
                  <a:cubicBezTo>
                    <a:pt x="13048" y="4497"/>
                    <a:pt x="13118" y="4496"/>
                    <a:pt x="13180" y="4532"/>
                  </a:cubicBezTo>
                  <a:cubicBezTo>
                    <a:pt x="13235" y="4564"/>
                    <a:pt x="13296" y="4586"/>
                    <a:pt x="13341" y="4635"/>
                  </a:cubicBezTo>
                  <a:cubicBezTo>
                    <a:pt x="13350" y="4644"/>
                    <a:pt x="13360" y="4652"/>
                    <a:pt x="13370" y="4658"/>
                  </a:cubicBezTo>
                  <a:cubicBezTo>
                    <a:pt x="13388" y="4670"/>
                    <a:pt x="13402" y="4662"/>
                    <a:pt x="13404" y="4640"/>
                  </a:cubicBezTo>
                  <a:cubicBezTo>
                    <a:pt x="13405" y="4628"/>
                    <a:pt x="13406" y="4613"/>
                    <a:pt x="13401" y="4603"/>
                  </a:cubicBezTo>
                  <a:cubicBezTo>
                    <a:pt x="13379" y="4563"/>
                    <a:pt x="13387" y="4522"/>
                    <a:pt x="13392" y="4482"/>
                  </a:cubicBezTo>
                  <a:cubicBezTo>
                    <a:pt x="13398" y="4432"/>
                    <a:pt x="13401" y="4382"/>
                    <a:pt x="13412" y="4333"/>
                  </a:cubicBezTo>
                  <a:cubicBezTo>
                    <a:pt x="13427" y="4273"/>
                    <a:pt x="13441" y="4213"/>
                    <a:pt x="13483" y="4162"/>
                  </a:cubicBezTo>
                  <a:cubicBezTo>
                    <a:pt x="13517" y="4122"/>
                    <a:pt x="13527" y="4068"/>
                    <a:pt x="13545" y="4019"/>
                  </a:cubicBezTo>
                  <a:cubicBezTo>
                    <a:pt x="13551" y="4001"/>
                    <a:pt x="13548" y="3983"/>
                    <a:pt x="13545" y="3964"/>
                  </a:cubicBezTo>
                  <a:cubicBezTo>
                    <a:pt x="13541" y="3940"/>
                    <a:pt x="13528" y="3929"/>
                    <a:pt x="13503" y="3926"/>
                  </a:cubicBezTo>
                  <a:cubicBezTo>
                    <a:pt x="13437" y="3917"/>
                    <a:pt x="13372" y="3908"/>
                    <a:pt x="13305" y="3911"/>
                  </a:cubicBezTo>
                  <a:cubicBezTo>
                    <a:pt x="13232" y="3915"/>
                    <a:pt x="13187" y="3867"/>
                    <a:pt x="13148" y="3814"/>
                  </a:cubicBezTo>
                  <a:cubicBezTo>
                    <a:pt x="13137" y="3800"/>
                    <a:pt x="13144" y="3787"/>
                    <a:pt x="13161" y="3780"/>
                  </a:cubicBezTo>
                  <a:cubicBezTo>
                    <a:pt x="13196" y="3766"/>
                    <a:pt x="13228" y="3747"/>
                    <a:pt x="13266" y="3742"/>
                  </a:cubicBezTo>
                  <a:cubicBezTo>
                    <a:pt x="13280" y="3740"/>
                    <a:pt x="13295" y="3738"/>
                    <a:pt x="13309" y="3734"/>
                  </a:cubicBezTo>
                  <a:cubicBezTo>
                    <a:pt x="13345" y="3722"/>
                    <a:pt x="13349" y="3709"/>
                    <a:pt x="13325" y="3681"/>
                  </a:cubicBezTo>
                  <a:cubicBezTo>
                    <a:pt x="13308" y="3662"/>
                    <a:pt x="13288" y="3646"/>
                    <a:pt x="13279" y="3622"/>
                  </a:cubicBezTo>
                  <a:cubicBezTo>
                    <a:pt x="13254" y="3556"/>
                    <a:pt x="13234" y="3488"/>
                    <a:pt x="13224" y="3418"/>
                  </a:cubicBezTo>
                  <a:cubicBezTo>
                    <a:pt x="13220" y="3393"/>
                    <a:pt x="13238" y="3381"/>
                    <a:pt x="13258" y="3396"/>
                  </a:cubicBezTo>
                  <a:cubicBezTo>
                    <a:pt x="13311" y="3437"/>
                    <a:pt x="13375" y="3461"/>
                    <a:pt x="13426" y="3502"/>
                  </a:cubicBezTo>
                  <a:cubicBezTo>
                    <a:pt x="13472" y="3539"/>
                    <a:pt x="13503" y="3589"/>
                    <a:pt x="13495" y="3654"/>
                  </a:cubicBezTo>
                  <a:cubicBezTo>
                    <a:pt x="13493" y="3671"/>
                    <a:pt x="13488" y="3696"/>
                    <a:pt x="13510" y="3702"/>
                  </a:cubicBezTo>
                  <a:cubicBezTo>
                    <a:pt x="13532" y="3707"/>
                    <a:pt x="13541" y="3686"/>
                    <a:pt x="13546" y="3667"/>
                  </a:cubicBezTo>
                  <a:cubicBezTo>
                    <a:pt x="13564" y="3597"/>
                    <a:pt x="13593" y="3527"/>
                    <a:pt x="13602" y="3457"/>
                  </a:cubicBezTo>
                  <a:cubicBezTo>
                    <a:pt x="13623" y="3292"/>
                    <a:pt x="13581" y="3146"/>
                    <a:pt x="13442" y="3036"/>
                  </a:cubicBezTo>
                  <a:cubicBezTo>
                    <a:pt x="13347" y="2960"/>
                    <a:pt x="13278" y="2865"/>
                    <a:pt x="13267" y="2738"/>
                  </a:cubicBezTo>
                  <a:cubicBezTo>
                    <a:pt x="13263" y="2692"/>
                    <a:pt x="13253" y="2648"/>
                    <a:pt x="13232" y="2606"/>
                  </a:cubicBezTo>
                  <a:cubicBezTo>
                    <a:pt x="13211" y="2561"/>
                    <a:pt x="13176" y="2535"/>
                    <a:pt x="13131" y="2521"/>
                  </a:cubicBezTo>
                  <a:cubicBezTo>
                    <a:pt x="13084" y="2506"/>
                    <a:pt x="13051" y="2519"/>
                    <a:pt x="13025" y="2561"/>
                  </a:cubicBezTo>
                  <a:cubicBezTo>
                    <a:pt x="13012" y="2583"/>
                    <a:pt x="12994" y="2601"/>
                    <a:pt x="12981" y="2621"/>
                  </a:cubicBezTo>
                  <a:cubicBezTo>
                    <a:pt x="12940" y="2684"/>
                    <a:pt x="12872" y="2684"/>
                    <a:pt x="12810" y="2697"/>
                  </a:cubicBezTo>
                  <a:cubicBezTo>
                    <a:pt x="12791" y="2701"/>
                    <a:pt x="12779" y="2687"/>
                    <a:pt x="12779" y="2666"/>
                  </a:cubicBezTo>
                  <a:cubicBezTo>
                    <a:pt x="12777" y="2606"/>
                    <a:pt x="12794" y="2551"/>
                    <a:pt x="12831" y="2503"/>
                  </a:cubicBezTo>
                  <a:cubicBezTo>
                    <a:pt x="12851" y="2478"/>
                    <a:pt x="12881" y="2475"/>
                    <a:pt x="12910" y="2475"/>
                  </a:cubicBezTo>
                  <a:cubicBezTo>
                    <a:pt x="12923" y="2474"/>
                    <a:pt x="12938" y="2473"/>
                    <a:pt x="12940" y="2458"/>
                  </a:cubicBezTo>
                  <a:cubicBezTo>
                    <a:pt x="12943" y="2438"/>
                    <a:pt x="12926" y="2435"/>
                    <a:pt x="12912" y="2431"/>
                  </a:cubicBezTo>
                  <a:cubicBezTo>
                    <a:pt x="12870" y="2421"/>
                    <a:pt x="12833" y="2421"/>
                    <a:pt x="12797" y="2455"/>
                  </a:cubicBezTo>
                  <a:cubicBezTo>
                    <a:pt x="12741" y="2508"/>
                    <a:pt x="12668" y="2537"/>
                    <a:pt x="12599" y="2571"/>
                  </a:cubicBezTo>
                  <a:cubicBezTo>
                    <a:pt x="12588" y="2576"/>
                    <a:pt x="12574" y="2576"/>
                    <a:pt x="12562" y="2577"/>
                  </a:cubicBezTo>
                  <a:cubicBezTo>
                    <a:pt x="12520" y="2578"/>
                    <a:pt x="12514" y="2570"/>
                    <a:pt x="12532" y="2531"/>
                  </a:cubicBezTo>
                  <a:cubicBezTo>
                    <a:pt x="12552" y="2486"/>
                    <a:pt x="12563" y="2435"/>
                    <a:pt x="12610" y="2406"/>
                  </a:cubicBezTo>
                  <a:cubicBezTo>
                    <a:pt x="12624" y="2397"/>
                    <a:pt x="12615" y="2379"/>
                    <a:pt x="12597" y="2376"/>
                  </a:cubicBezTo>
                  <a:cubicBezTo>
                    <a:pt x="12559" y="2369"/>
                    <a:pt x="12537" y="2395"/>
                    <a:pt x="12519" y="2419"/>
                  </a:cubicBezTo>
                  <a:cubicBezTo>
                    <a:pt x="12490" y="2457"/>
                    <a:pt x="12456" y="2491"/>
                    <a:pt x="12425" y="2527"/>
                  </a:cubicBezTo>
                  <a:cubicBezTo>
                    <a:pt x="12406" y="2549"/>
                    <a:pt x="12386" y="2571"/>
                    <a:pt x="12364" y="2590"/>
                  </a:cubicBezTo>
                  <a:cubicBezTo>
                    <a:pt x="12328" y="2621"/>
                    <a:pt x="12298" y="2608"/>
                    <a:pt x="12290" y="2563"/>
                  </a:cubicBezTo>
                  <a:cubicBezTo>
                    <a:pt x="12275" y="2488"/>
                    <a:pt x="12298" y="2424"/>
                    <a:pt x="12340" y="2364"/>
                  </a:cubicBezTo>
                  <a:cubicBezTo>
                    <a:pt x="12368" y="2323"/>
                    <a:pt x="12462" y="2288"/>
                    <a:pt x="12514" y="2303"/>
                  </a:cubicBezTo>
                  <a:cubicBezTo>
                    <a:pt x="12563" y="2318"/>
                    <a:pt x="12613" y="2308"/>
                    <a:pt x="12663" y="2315"/>
                  </a:cubicBezTo>
                  <a:cubicBezTo>
                    <a:pt x="12675" y="2317"/>
                    <a:pt x="12688" y="2313"/>
                    <a:pt x="12693" y="2299"/>
                  </a:cubicBezTo>
                  <a:cubicBezTo>
                    <a:pt x="12697" y="2285"/>
                    <a:pt x="12693" y="2274"/>
                    <a:pt x="12682" y="2266"/>
                  </a:cubicBezTo>
                  <a:cubicBezTo>
                    <a:pt x="12670" y="2257"/>
                    <a:pt x="12658" y="2247"/>
                    <a:pt x="12645" y="2243"/>
                  </a:cubicBezTo>
                  <a:cubicBezTo>
                    <a:pt x="12572" y="2218"/>
                    <a:pt x="12538" y="2154"/>
                    <a:pt x="12497" y="2096"/>
                  </a:cubicBezTo>
                  <a:cubicBezTo>
                    <a:pt x="12484" y="2077"/>
                    <a:pt x="12495" y="2067"/>
                    <a:pt x="12515" y="2061"/>
                  </a:cubicBezTo>
                  <a:cubicBezTo>
                    <a:pt x="12619" y="2032"/>
                    <a:pt x="12749" y="2090"/>
                    <a:pt x="12795" y="2187"/>
                  </a:cubicBezTo>
                  <a:cubicBezTo>
                    <a:pt x="12807" y="2212"/>
                    <a:pt x="12804" y="2240"/>
                    <a:pt x="12805" y="2267"/>
                  </a:cubicBezTo>
                  <a:cubicBezTo>
                    <a:pt x="12809" y="2317"/>
                    <a:pt x="12809" y="2319"/>
                    <a:pt x="12854" y="2333"/>
                  </a:cubicBezTo>
                  <a:cubicBezTo>
                    <a:pt x="12888" y="2343"/>
                    <a:pt x="12921" y="2355"/>
                    <a:pt x="12951" y="2374"/>
                  </a:cubicBezTo>
                  <a:cubicBezTo>
                    <a:pt x="12965" y="2384"/>
                    <a:pt x="12984" y="2390"/>
                    <a:pt x="12996" y="2373"/>
                  </a:cubicBezTo>
                  <a:cubicBezTo>
                    <a:pt x="13007" y="2358"/>
                    <a:pt x="12995" y="2346"/>
                    <a:pt x="12986" y="2335"/>
                  </a:cubicBezTo>
                  <a:cubicBezTo>
                    <a:pt x="12977" y="2325"/>
                    <a:pt x="12970" y="2315"/>
                    <a:pt x="12961" y="2306"/>
                  </a:cubicBezTo>
                  <a:cubicBezTo>
                    <a:pt x="12938" y="2279"/>
                    <a:pt x="12928" y="2248"/>
                    <a:pt x="12934" y="2214"/>
                  </a:cubicBezTo>
                  <a:cubicBezTo>
                    <a:pt x="12939" y="2191"/>
                    <a:pt x="12939" y="2170"/>
                    <a:pt x="12931" y="2147"/>
                  </a:cubicBezTo>
                  <a:cubicBezTo>
                    <a:pt x="12922" y="2121"/>
                    <a:pt x="12931" y="2109"/>
                    <a:pt x="12957" y="2113"/>
                  </a:cubicBezTo>
                  <a:cubicBezTo>
                    <a:pt x="13000" y="2120"/>
                    <a:pt x="13045" y="2120"/>
                    <a:pt x="13081" y="2148"/>
                  </a:cubicBezTo>
                  <a:cubicBezTo>
                    <a:pt x="13122" y="2180"/>
                    <a:pt x="13145" y="2219"/>
                    <a:pt x="13136" y="2272"/>
                  </a:cubicBezTo>
                  <a:cubicBezTo>
                    <a:pt x="13134" y="2282"/>
                    <a:pt x="13132" y="2292"/>
                    <a:pt x="13130" y="2302"/>
                  </a:cubicBezTo>
                  <a:cubicBezTo>
                    <a:pt x="13119" y="2368"/>
                    <a:pt x="13126" y="2422"/>
                    <a:pt x="13202" y="2445"/>
                  </a:cubicBezTo>
                  <a:cubicBezTo>
                    <a:pt x="13225" y="2451"/>
                    <a:pt x="13242" y="2473"/>
                    <a:pt x="13258" y="2494"/>
                  </a:cubicBezTo>
                  <a:cubicBezTo>
                    <a:pt x="13266" y="2505"/>
                    <a:pt x="13278" y="2508"/>
                    <a:pt x="13291" y="2504"/>
                  </a:cubicBezTo>
                  <a:cubicBezTo>
                    <a:pt x="13306" y="2500"/>
                    <a:pt x="13308" y="2486"/>
                    <a:pt x="13308" y="2474"/>
                  </a:cubicBezTo>
                  <a:cubicBezTo>
                    <a:pt x="13308" y="2449"/>
                    <a:pt x="13309" y="2423"/>
                    <a:pt x="13305" y="2399"/>
                  </a:cubicBezTo>
                  <a:cubicBezTo>
                    <a:pt x="13278" y="2248"/>
                    <a:pt x="13209" y="2121"/>
                    <a:pt x="13082" y="2029"/>
                  </a:cubicBezTo>
                  <a:cubicBezTo>
                    <a:pt x="13069" y="2019"/>
                    <a:pt x="13054" y="2010"/>
                    <a:pt x="13044" y="1997"/>
                  </a:cubicBezTo>
                  <a:cubicBezTo>
                    <a:pt x="12995" y="1934"/>
                    <a:pt x="12922" y="1905"/>
                    <a:pt x="12857" y="1866"/>
                  </a:cubicBezTo>
                  <a:cubicBezTo>
                    <a:pt x="12808" y="1836"/>
                    <a:pt x="12756" y="1853"/>
                    <a:pt x="12709" y="1878"/>
                  </a:cubicBezTo>
                  <a:cubicBezTo>
                    <a:pt x="12685" y="1891"/>
                    <a:pt x="12664" y="1910"/>
                    <a:pt x="12646" y="1929"/>
                  </a:cubicBezTo>
                  <a:cubicBezTo>
                    <a:pt x="12601" y="1977"/>
                    <a:pt x="12540" y="1992"/>
                    <a:pt x="12483" y="2017"/>
                  </a:cubicBezTo>
                  <a:cubicBezTo>
                    <a:pt x="12472" y="2022"/>
                    <a:pt x="12459" y="2026"/>
                    <a:pt x="12449" y="2015"/>
                  </a:cubicBezTo>
                  <a:cubicBezTo>
                    <a:pt x="12438" y="2003"/>
                    <a:pt x="12445" y="1992"/>
                    <a:pt x="12451" y="1980"/>
                  </a:cubicBezTo>
                  <a:cubicBezTo>
                    <a:pt x="12454" y="1973"/>
                    <a:pt x="12458" y="1965"/>
                    <a:pt x="12460" y="1957"/>
                  </a:cubicBezTo>
                  <a:cubicBezTo>
                    <a:pt x="12478" y="1899"/>
                    <a:pt x="12513" y="1860"/>
                    <a:pt x="12573" y="1845"/>
                  </a:cubicBezTo>
                  <a:cubicBezTo>
                    <a:pt x="12587" y="1841"/>
                    <a:pt x="12601" y="1838"/>
                    <a:pt x="12612" y="1827"/>
                  </a:cubicBezTo>
                  <a:cubicBezTo>
                    <a:pt x="12606" y="1807"/>
                    <a:pt x="12590" y="1807"/>
                    <a:pt x="12577" y="1805"/>
                  </a:cubicBezTo>
                  <a:cubicBezTo>
                    <a:pt x="12483" y="1791"/>
                    <a:pt x="12414" y="1832"/>
                    <a:pt x="12371" y="1917"/>
                  </a:cubicBezTo>
                  <a:cubicBezTo>
                    <a:pt x="12340" y="1980"/>
                    <a:pt x="12304" y="2042"/>
                    <a:pt x="12241" y="2081"/>
                  </a:cubicBezTo>
                  <a:cubicBezTo>
                    <a:pt x="12228" y="2088"/>
                    <a:pt x="12216" y="2098"/>
                    <a:pt x="12201" y="2087"/>
                  </a:cubicBezTo>
                  <a:cubicBezTo>
                    <a:pt x="12187" y="2077"/>
                    <a:pt x="12190" y="2062"/>
                    <a:pt x="12193" y="2047"/>
                  </a:cubicBezTo>
                  <a:cubicBezTo>
                    <a:pt x="12200" y="2019"/>
                    <a:pt x="12206" y="1991"/>
                    <a:pt x="12211" y="1962"/>
                  </a:cubicBezTo>
                  <a:cubicBezTo>
                    <a:pt x="12214" y="1950"/>
                    <a:pt x="12217" y="1936"/>
                    <a:pt x="12202" y="1930"/>
                  </a:cubicBezTo>
                  <a:cubicBezTo>
                    <a:pt x="12185" y="1923"/>
                    <a:pt x="12174" y="1933"/>
                    <a:pt x="12167" y="1947"/>
                  </a:cubicBezTo>
                  <a:cubicBezTo>
                    <a:pt x="12166" y="1949"/>
                    <a:pt x="12165" y="1951"/>
                    <a:pt x="12164" y="1953"/>
                  </a:cubicBezTo>
                  <a:cubicBezTo>
                    <a:pt x="12131" y="2019"/>
                    <a:pt x="12066" y="2037"/>
                    <a:pt x="12004" y="2060"/>
                  </a:cubicBezTo>
                  <a:cubicBezTo>
                    <a:pt x="11984" y="2067"/>
                    <a:pt x="11969" y="2058"/>
                    <a:pt x="11969" y="2038"/>
                  </a:cubicBezTo>
                  <a:cubicBezTo>
                    <a:pt x="11969" y="1976"/>
                    <a:pt x="11962" y="1911"/>
                    <a:pt x="12029" y="1871"/>
                  </a:cubicBezTo>
                  <a:cubicBezTo>
                    <a:pt x="12051" y="1858"/>
                    <a:pt x="12072" y="1849"/>
                    <a:pt x="12098" y="1849"/>
                  </a:cubicBezTo>
                  <a:cubicBezTo>
                    <a:pt x="12131" y="1848"/>
                    <a:pt x="12164" y="1840"/>
                    <a:pt x="12196" y="1829"/>
                  </a:cubicBezTo>
                  <a:cubicBezTo>
                    <a:pt x="12210" y="1824"/>
                    <a:pt x="12220" y="1812"/>
                    <a:pt x="12217" y="1795"/>
                  </a:cubicBezTo>
                  <a:cubicBezTo>
                    <a:pt x="12214" y="1780"/>
                    <a:pt x="12201" y="1776"/>
                    <a:pt x="12188" y="1777"/>
                  </a:cubicBezTo>
                  <a:cubicBezTo>
                    <a:pt x="12121" y="1778"/>
                    <a:pt x="12073" y="1735"/>
                    <a:pt x="12008" y="1710"/>
                  </a:cubicBezTo>
                  <a:cubicBezTo>
                    <a:pt x="12067" y="1665"/>
                    <a:pt x="12124" y="1635"/>
                    <a:pt x="12184" y="1615"/>
                  </a:cubicBezTo>
                  <a:cubicBezTo>
                    <a:pt x="12210" y="1606"/>
                    <a:pt x="12237" y="1612"/>
                    <a:pt x="12261" y="1629"/>
                  </a:cubicBezTo>
                  <a:cubicBezTo>
                    <a:pt x="12284" y="1644"/>
                    <a:pt x="12302" y="1664"/>
                    <a:pt x="12317" y="1687"/>
                  </a:cubicBezTo>
                  <a:cubicBezTo>
                    <a:pt x="12353" y="1745"/>
                    <a:pt x="12377" y="1757"/>
                    <a:pt x="12441" y="1738"/>
                  </a:cubicBezTo>
                  <a:cubicBezTo>
                    <a:pt x="12481" y="1726"/>
                    <a:pt x="12518" y="1724"/>
                    <a:pt x="12557" y="1731"/>
                  </a:cubicBezTo>
                  <a:cubicBezTo>
                    <a:pt x="12565" y="1732"/>
                    <a:pt x="12574" y="1733"/>
                    <a:pt x="12582" y="1732"/>
                  </a:cubicBezTo>
                  <a:cubicBezTo>
                    <a:pt x="12595" y="1731"/>
                    <a:pt x="12607" y="1726"/>
                    <a:pt x="12610" y="1712"/>
                  </a:cubicBezTo>
                  <a:cubicBezTo>
                    <a:pt x="12612" y="1699"/>
                    <a:pt x="12603" y="1693"/>
                    <a:pt x="12594" y="1687"/>
                  </a:cubicBezTo>
                  <a:cubicBezTo>
                    <a:pt x="12562" y="1665"/>
                    <a:pt x="12525" y="1652"/>
                    <a:pt x="12501" y="1617"/>
                  </a:cubicBezTo>
                  <a:cubicBezTo>
                    <a:pt x="12474" y="1577"/>
                    <a:pt x="12482" y="1533"/>
                    <a:pt x="12475" y="1491"/>
                  </a:cubicBezTo>
                  <a:cubicBezTo>
                    <a:pt x="12472" y="1476"/>
                    <a:pt x="12496" y="1465"/>
                    <a:pt x="12507" y="1476"/>
                  </a:cubicBezTo>
                  <a:cubicBezTo>
                    <a:pt x="12568" y="1540"/>
                    <a:pt x="12671" y="1540"/>
                    <a:pt x="12722" y="1618"/>
                  </a:cubicBezTo>
                  <a:cubicBezTo>
                    <a:pt x="12731" y="1632"/>
                    <a:pt x="12749" y="1631"/>
                    <a:pt x="12762" y="1624"/>
                  </a:cubicBezTo>
                  <a:cubicBezTo>
                    <a:pt x="12827" y="1590"/>
                    <a:pt x="12886" y="1604"/>
                    <a:pt x="12944" y="1642"/>
                  </a:cubicBezTo>
                  <a:cubicBezTo>
                    <a:pt x="12953" y="1648"/>
                    <a:pt x="12963" y="1651"/>
                    <a:pt x="12973" y="1655"/>
                  </a:cubicBezTo>
                  <a:cubicBezTo>
                    <a:pt x="12976" y="1656"/>
                    <a:pt x="12980" y="1653"/>
                    <a:pt x="12984" y="1652"/>
                  </a:cubicBezTo>
                  <a:cubicBezTo>
                    <a:pt x="12973" y="1567"/>
                    <a:pt x="12915" y="1502"/>
                    <a:pt x="12836" y="1483"/>
                  </a:cubicBezTo>
                  <a:cubicBezTo>
                    <a:pt x="12789" y="1472"/>
                    <a:pt x="12740" y="1471"/>
                    <a:pt x="12696" y="1452"/>
                  </a:cubicBezTo>
                  <a:cubicBezTo>
                    <a:pt x="12679" y="1444"/>
                    <a:pt x="12660" y="1439"/>
                    <a:pt x="12644" y="1429"/>
                  </a:cubicBezTo>
                  <a:cubicBezTo>
                    <a:pt x="12612" y="1407"/>
                    <a:pt x="12582" y="1383"/>
                    <a:pt x="12544" y="1367"/>
                  </a:cubicBezTo>
                  <a:cubicBezTo>
                    <a:pt x="12606" y="1317"/>
                    <a:pt x="12701" y="1310"/>
                    <a:pt x="12756" y="1347"/>
                  </a:cubicBezTo>
                  <a:cubicBezTo>
                    <a:pt x="12768" y="1355"/>
                    <a:pt x="12779" y="1365"/>
                    <a:pt x="12790" y="1374"/>
                  </a:cubicBezTo>
                  <a:cubicBezTo>
                    <a:pt x="12800" y="1381"/>
                    <a:pt x="12811" y="1392"/>
                    <a:pt x="12823" y="1380"/>
                  </a:cubicBezTo>
                  <a:cubicBezTo>
                    <a:pt x="12837" y="1368"/>
                    <a:pt x="12830" y="1353"/>
                    <a:pt x="12820" y="1342"/>
                  </a:cubicBezTo>
                  <a:cubicBezTo>
                    <a:pt x="12790" y="1309"/>
                    <a:pt x="12757" y="1281"/>
                    <a:pt x="12713" y="1269"/>
                  </a:cubicBezTo>
                  <a:cubicBezTo>
                    <a:pt x="12673" y="1258"/>
                    <a:pt x="12634" y="1244"/>
                    <a:pt x="12593" y="1237"/>
                  </a:cubicBezTo>
                  <a:cubicBezTo>
                    <a:pt x="12538" y="1226"/>
                    <a:pt x="12501" y="1190"/>
                    <a:pt x="12463" y="1154"/>
                  </a:cubicBezTo>
                  <a:cubicBezTo>
                    <a:pt x="12449" y="1141"/>
                    <a:pt x="12453" y="1127"/>
                    <a:pt x="12470" y="1119"/>
                  </a:cubicBezTo>
                  <a:cubicBezTo>
                    <a:pt x="12529" y="1092"/>
                    <a:pt x="12591" y="1075"/>
                    <a:pt x="12656" y="1071"/>
                  </a:cubicBezTo>
                  <a:cubicBezTo>
                    <a:pt x="12700" y="1067"/>
                    <a:pt x="12725" y="1095"/>
                    <a:pt x="12741" y="1131"/>
                  </a:cubicBezTo>
                  <a:cubicBezTo>
                    <a:pt x="12760" y="1178"/>
                    <a:pt x="12784" y="1221"/>
                    <a:pt x="12820" y="1257"/>
                  </a:cubicBezTo>
                  <a:cubicBezTo>
                    <a:pt x="12835" y="1272"/>
                    <a:pt x="12851" y="1285"/>
                    <a:pt x="12867" y="1298"/>
                  </a:cubicBezTo>
                  <a:cubicBezTo>
                    <a:pt x="12876" y="1306"/>
                    <a:pt x="12887" y="1315"/>
                    <a:pt x="12901" y="1308"/>
                  </a:cubicBezTo>
                  <a:cubicBezTo>
                    <a:pt x="12917" y="1300"/>
                    <a:pt x="12916" y="1284"/>
                    <a:pt x="12915" y="1270"/>
                  </a:cubicBezTo>
                  <a:cubicBezTo>
                    <a:pt x="12915" y="1258"/>
                    <a:pt x="12912" y="1245"/>
                    <a:pt x="12911" y="1233"/>
                  </a:cubicBezTo>
                  <a:cubicBezTo>
                    <a:pt x="12910" y="1178"/>
                    <a:pt x="12916" y="1125"/>
                    <a:pt x="12951" y="1079"/>
                  </a:cubicBezTo>
                  <a:cubicBezTo>
                    <a:pt x="12979" y="1044"/>
                    <a:pt x="12995" y="1043"/>
                    <a:pt x="13012" y="1085"/>
                  </a:cubicBezTo>
                  <a:cubicBezTo>
                    <a:pt x="13035" y="1145"/>
                    <a:pt x="13035" y="1207"/>
                    <a:pt x="13014" y="1268"/>
                  </a:cubicBezTo>
                  <a:cubicBezTo>
                    <a:pt x="13007" y="1289"/>
                    <a:pt x="13001" y="1312"/>
                    <a:pt x="12985" y="1330"/>
                  </a:cubicBezTo>
                  <a:cubicBezTo>
                    <a:pt x="12974" y="1343"/>
                    <a:pt x="12965" y="1359"/>
                    <a:pt x="12969" y="1376"/>
                  </a:cubicBezTo>
                  <a:cubicBezTo>
                    <a:pt x="12981" y="1429"/>
                    <a:pt x="12998" y="1482"/>
                    <a:pt x="13032" y="1537"/>
                  </a:cubicBezTo>
                  <a:cubicBezTo>
                    <a:pt x="13051" y="1503"/>
                    <a:pt x="13043" y="1476"/>
                    <a:pt x="13042" y="1451"/>
                  </a:cubicBezTo>
                  <a:cubicBezTo>
                    <a:pt x="13041" y="1412"/>
                    <a:pt x="13057" y="1382"/>
                    <a:pt x="13079" y="1354"/>
                  </a:cubicBezTo>
                  <a:cubicBezTo>
                    <a:pt x="13091" y="1339"/>
                    <a:pt x="13107" y="1340"/>
                    <a:pt x="13112" y="1358"/>
                  </a:cubicBezTo>
                  <a:cubicBezTo>
                    <a:pt x="13127" y="1404"/>
                    <a:pt x="13158" y="1442"/>
                    <a:pt x="13180" y="1484"/>
                  </a:cubicBezTo>
                  <a:cubicBezTo>
                    <a:pt x="13202" y="1528"/>
                    <a:pt x="13196" y="1563"/>
                    <a:pt x="13171" y="1600"/>
                  </a:cubicBezTo>
                  <a:cubicBezTo>
                    <a:pt x="13166" y="1607"/>
                    <a:pt x="13162" y="1615"/>
                    <a:pt x="13156" y="1620"/>
                  </a:cubicBezTo>
                  <a:cubicBezTo>
                    <a:pt x="13079" y="1683"/>
                    <a:pt x="13101" y="1721"/>
                    <a:pt x="13146" y="1793"/>
                  </a:cubicBezTo>
                  <a:cubicBezTo>
                    <a:pt x="13170" y="1833"/>
                    <a:pt x="13189" y="1873"/>
                    <a:pt x="13201" y="1918"/>
                  </a:cubicBezTo>
                  <a:cubicBezTo>
                    <a:pt x="13219" y="1989"/>
                    <a:pt x="13264" y="2044"/>
                    <a:pt x="13306" y="2100"/>
                  </a:cubicBezTo>
                  <a:cubicBezTo>
                    <a:pt x="13312" y="2109"/>
                    <a:pt x="13320" y="2116"/>
                    <a:pt x="13332" y="2111"/>
                  </a:cubicBezTo>
                  <a:cubicBezTo>
                    <a:pt x="13341" y="2107"/>
                    <a:pt x="13342" y="2099"/>
                    <a:pt x="13344" y="2091"/>
                  </a:cubicBezTo>
                  <a:cubicBezTo>
                    <a:pt x="13347" y="2068"/>
                    <a:pt x="13352" y="2045"/>
                    <a:pt x="13352" y="2022"/>
                  </a:cubicBezTo>
                  <a:cubicBezTo>
                    <a:pt x="13355" y="1911"/>
                    <a:pt x="13404" y="1815"/>
                    <a:pt x="13454" y="1719"/>
                  </a:cubicBezTo>
                  <a:cubicBezTo>
                    <a:pt x="13497" y="1635"/>
                    <a:pt x="13520" y="1543"/>
                    <a:pt x="13526" y="1449"/>
                  </a:cubicBezTo>
                  <a:cubicBezTo>
                    <a:pt x="13530" y="1393"/>
                    <a:pt x="13510" y="1341"/>
                    <a:pt x="13451" y="1310"/>
                  </a:cubicBezTo>
                  <a:cubicBezTo>
                    <a:pt x="13383" y="1274"/>
                    <a:pt x="13333" y="1219"/>
                    <a:pt x="13302" y="1148"/>
                  </a:cubicBezTo>
                  <a:cubicBezTo>
                    <a:pt x="13297" y="1136"/>
                    <a:pt x="13289" y="1124"/>
                    <a:pt x="13297" y="1113"/>
                  </a:cubicBezTo>
                  <a:cubicBezTo>
                    <a:pt x="13306" y="1100"/>
                    <a:pt x="13320" y="1110"/>
                    <a:pt x="13331" y="1112"/>
                  </a:cubicBezTo>
                  <a:cubicBezTo>
                    <a:pt x="13354" y="1115"/>
                    <a:pt x="13377" y="1119"/>
                    <a:pt x="13400" y="1120"/>
                  </a:cubicBezTo>
                  <a:cubicBezTo>
                    <a:pt x="13431" y="1122"/>
                    <a:pt x="13462" y="1126"/>
                    <a:pt x="13486" y="1150"/>
                  </a:cubicBezTo>
                  <a:cubicBezTo>
                    <a:pt x="13493" y="1157"/>
                    <a:pt x="13504" y="1163"/>
                    <a:pt x="13514" y="1155"/>
                  </a:cubicBezTo>
                  <a:cubicBezTo>
                    <a:pt x="13526" y="1145"/>
                    <a:pt x="13521" y="1132"/>
                    <a:pt x="13516" y="1121"/>
                  </a:cubicBezTo>
                  <a:cubicBezTo>
                    <a:pt x="13507" y="1103"/>
                    <a:pt x="13492" y="1092"/>
                    <a:pt x="13474" y="1084"/>
                  </a:cubicBezTo>
                  <a:cubicBezTo>
                    <a:pt x="13446" y="1071"/>
                    <a:pt x="13418" y="1056"/>
                    <a:pt x="13389" y="1047"/>
                  </a:cubicBezTo>
                  <a:cubicBezTo>
                    <a:pt x="13332" y="1030"/>
                    <a:pt x="13301" y="985"/>
                    <a:pt x="13269" y="942"/>
                  </a:cubicBezTo>
                  <a:cubicBezTo>
                    <a:pt x="13247" y="913"/>
                    <a:pt x="13256" y="899"/>
                    <a:pt x="13292" y="891"/>
                  </a:cubicBezTo>
                  <a:cubicBezTo>
                    <a:pt x="13347" y="880"/>
                    <a:pt x="13395" y="889"/>
                    <a:pt x="13432" y="936"/>
                  </a:cubicBezTo>
                  <a:cubicBezTo>
                    <a:pt x="13440" y="945"/>
                    <a:pt x="13447" y="955"/>
                    <a:pt x="13455" y="965"/>
                  </a:cubicBezTo>
                  <a:cubicBezTo>
                    <a:pt x="13462" y="973"/>
                    <a:pt x="13468" y="982"/>
                    <a:pt x="13481" y="978"/>
                  </a:cubicBezTo>
                  <a:cubicBezTo>
                    <a:pt x="13496" y="972"/>
                    <a:pt x="13494" y="958"/>
                    <a:pt x="13492" y="946"/>
                  </a:cubicBezTo>
                  <a:cubicBezTo>
                    <a:pt x="13479" y="894"/>
                    <a:pt x="13447" y="855"/>
                    <a:pt x="13400" y="835"/>
                  </a:cubicBezTo>
                  <a:cubicBezTo>
                    <a:pt x="13307" y="795"/>
                    <a:pt x="13256" y="718"/>
                    <a:pt x="13211" y="635"/>
                  </a:cubicBezTo>
                  <a:cubicBezTo>
                    <a:pt x="13207" y="627"/>
                    <a:pt x="13205" y="619"/>
                    <a:pt x="13210" y="612"/>
                  </a:cubicBezTo>
                  <a:cubicBezTo>
                    <a:pt x="13216" y="604"/>
                    <a:pt x="13225" y="606"/>
                    <a:pt x="13233" y="609"/>
                  </a:cubicBezTo>
                  <a:cubicBezTo>
                    <a:pt x="13278" y="629"/>
                    <a:pt x="13331" y="630"/>
                    <a:pt x="13369" y="667"/>
                  </a:cubicBezTo>
                  <a:cubicBezTo>
                    <a:pt x="13375" y="672"/>
                    <a:pt x="13384" y="675"/>
                    <a:pt x="13392" y="677"/>
                  </a:cubicBezTo>
                  <a:cubicBezTo>
                    <a:pt x="13397" y="678"/>
                    <a:pt x="13404" y="676"/>
                    <a:pt x="13409" y="672"/>
                  </a:cubicBezTo>
                  <a:cubicBezTo>
                    <a:pt x="13418" y="667"/>
                    <a:pt x="13413" y="657"/>
                    <a:pt x="13411" y="650"/>
                  </a:cubicBezTo>
                  <a:cubicBezTo>
                    <a:pt x="13405" y="632"/>
                    <a:pt x="13388" y="626"/>
                    <a:pt x="13374" y="617"/>
                  </a:cubicBezTo>
                  <a:cubicBezTo>
                    <a:pt x="13290" y="567"/>
                    <a:pt x="13260" y="484"/>
                    <a:pt x="13238" y="396"/>
                  </a:cubicBezTo>
                  <a:cubicBezTo>
                    <a:pt x="13235" y="384"/>
                    <a:pt x="13232" y="372"/>
                    <a:pt x="13228" y="360"/>
                  </a:cubicBezTo>
                  <a:cubicBezTo>
                    <a:pt x="13218" y="318"/>
                    <a:pt x="13225" y="309"/>
                    <a:pt x="13264" y="318"/>
                  </a:cubicBezTo>
                  <a:cubicBezTo>
                    <a:pt x="13303" y="328"/>
                    <a:pt x="13341" y="337"/>
                    <a:pt x="13378" y="352"/>
                  </a:cubicBezTo>
                  <a:cubicBezTo>
                    <a:pt x="13450" y="379"/>
                    <a:pt x="13491" y="467"/>
                    <a:pt x="13469" y="539"/>
                  </a:cubicBezTo>
                  <a:cubicBezTo>
                    <a:pt x="13460" y="568"/>
                    <a:pt x="13490" y="679"/>
                    <a:pt x="13512" y="696"/>
                  </a:cubicBezTo>
                  <a:cubicBezTo>
                    <a:pt x="13528" y="708"/>
                    <a:pt x="13539" y="699"/>
                    <a:pt x="13547" y="685"/>
                  </a:cubicBezTo>
                  <a:cubicBezTo>
                    <a:pt x="13563" y="653"/>
                    <a:pt x="13583" y="624"/>
                    <a:pt x="13607" y="597"/>
                  </a:cubicBezTo>
                  <a:cubicBezTo>
                    <a:pt x="13631" y="571"/>
                    <a:pt x="13659" y="550"/>
                    <a:pt x="13696" y="542"/>
                  </a:cubicBezTo>
                  <a:cubicBezTo>
                    <a:pt x="13725" y="536"/>
                    <a:pt x="13738" y="544"/>
                    <a:pt x="13743" y="574"/>
                  </a:cubicBezTo>
                  <a:cubicBezTo>
                    <a:pt x="13763" y="674"/>
                    <a:pt x="13708" y="775"/>
                    <a:pt x="13611" y="816"/>
                  </a:cubicBezTo>
                  <a:cubicBezTo>
                    <a:pt x="13564" y="836"/>
                    <a:pt x="13544" y="923"/>
                    <a:pt x="13577" y="965"/>
                  </a:cubicBezTo>
                  <a:cubicBezTo>
                    <a:pt x="13587" y="978"/>
                    <a:pt x="13607" y="975"/>
                    <a:pt x="13618" y="957"/>
                  </a:cubicBezTo>
                  <a:cubicBezTo>
                    <a:pt x="13635" y="928"/>
                    <a:pt x="13650" y="899"/>
                    <a:pt x="13666" y="869"/>
                  </a:cubicBezTo>
                  <a:cubicBezTo>
                    <a:pt x="13673" y="856"/>
                    <a:pt x="13680" y="841"/>
                    <a:pt x="13697" y="842"/>
                  </a:cubicBezTo>
                  <a:cubicBezTo>
                    <a:pt x="13715" y="843"/>
                    <a:pt x="13715" y="860"/>
                    <a:pt x="13719" y="874"/>
                  </a:cubicBezTo>
                  <a:cubicBezTo>
                    <a:pt x="13722" y="889"/>
                    <a:pt x="13728" y="902"/>
                    <a:pt x="13733" y="916"/>
                  </a:cubicBezTo>
                  <a:cubicBezTo>
                    <a:pt x="13763" y="991"/>
                    <a:pt x="13736" y="1046"/>
                    <a:pt x="13657" y="1066"/>
                  </a:cubicBezTo>
                  <a:cubicBezTo>
                    <a:pt x="13609" y="1079"/>
                    <a:pt x="13601" y="1092"/>
                    <a:pt x="13610" y="1143"/>
                  </a:cubicBezTo>
                  <a:cubicBezTo>
                    <a:pt x="13615" y="1171"/>
                    <a:pt x="13619" y="1200"/>
                    <a:pt x="13626" y="1228"/>
                  </a:cubicBezTo>
                  <a:cubicBezTo>
                    <a:pt x="13632" y="1254"/>
                    <a:pt x="13646" y="1258"/>
                    <a:pt x="13666" y="1239"/>
                  </a:cubicBezTo>
                  <a:cubicBezTo>
                    <a:pt x="13687" y="1219"/>
                    <a:pt x="13703" y="1195"/>
                    <a:pt x="13718" y="1170"/>
                  </a:cubicBezTo>
                  <a:cubicBezTo>
                    <a:pt x="13740" y="1132"/>
                    <a:pt x="13766" y="1097"/>
                    <a:pt x="13809" y="1079"/>
                  </a:cubicBezTo>
                  <a:cubicBezTo>
                    <a:pt x="13853" y="1197"/>
                    <a:pt x="13800" y="1327"/>
                    <a:pt x="13689" y="1376"/>
                  </a:cubicBezTo>
                  <a:cubicBezTo>
                    <a:pt x="13643" y="1396"/>
                    <a:pt x="13619" y="1443"/>
                    <a:pt x="13628" y="1493"/>
                  </a:cubicBezTo>
                  <a:cubicBezTo>
                    <a:pt x="13632" y="1514"/>
                    <a:pt x="13646" y="1519"/>
                    <a:pt x="13663" y="1503"/>
                  </a:cubicBezTo>
                  <a:cubicBezTo>
                    <a:pt x="13690" y="1478"/>
                    <a:pt x="13718" y="1452"/>
                    <a:pt x="13742" y="1424"/>
                  </a:cubicBezTo>
                  <a:cubicBezTo>
                    <a:pt x="13826" y="1323"/>
                    <a:pt x="13937" y="1264"/>
                    <a:pt x="14057" y="1219"/>
                  </a:cubicBezTo>
                  <a:cubicBezTo>
                    <a:pt x="14101" y="1203"/>
                    <a:pt x="14143" y="1181"/>
                    <a:pt x="14191" y="1171"/>
                  </a:cubicBezTo>
                  <a:cubicBezTo>
                    <a:pt x="14295" y="1149"/>
                    <a:pt x="14343" y="1039"/>
                    <a:pt x="14299" y="942"/>
                  </a:cubicBezTo>
                  <a:cubicBezTo>
                    <a:pt x="14268" y="872"/>
                    <a:pt x="14245" y="801"/>
                    <a:pt x="14284" y="726"/>
                  </a:cubicBezTo>
                  <a:cubicBezTo>
                    <a:pt x="14301" y="693"/>
                    <a:pt x="14307" y="690"/>
                    <a:pt x="14339" y="713"/>
                  </a:cubicBezTo>
                  <a:cubicBezTo>
                    <a:pt x="14348" y="719"/>
                    <a:pt x="14355" y="726"/>
                    <a:pt x="14364" y="731"/>
                  </a:cubicBezTo>
                  <a:cubicBezTo>
                    <a:pt x="14425" y="769"/>
                    <a:pt x="14448" y="821"/>
                    <a:pt x="14422" y="890"/>
                  </a:cubicBezTo>
                  <a:cubicBezTo>
                    <a:pt x="14421" y="894"/>
                    <a:pt x="14420" y="898"/>
                    <a:pt x="14420" y="902"/>
                  </a:cubicBezTo>
                  <a:cubicBezTo>
                    <a:pt x="14418" y="915"/>
                    <a:pt x="14414" y="929"/>
                    <a:pt x="14431" y="933"/>
                  </a:cubicBezTo>
                  <a:cubicBezTo>
                    <a:pt x="14442" y="936"/>
                    <a:pt x="14451" y="929"/>
                    <a:pt x="14457" y="920"/>
                  </a:cubicBezTo>
                  <a:cubicBezTo>
                    <a:pt x="14494" y="872"/>
                    <a:pt x="14501" y="818"/>
                    <a:pt x="14483" y="761"/>
                  </a:cubicBezTo>
                  <a:cubicBezTo>
                    <a:pt x="14480" y="751"/>
                    <a:pt x="14476" y="741"/>
                    <a:pt x="14470" y="733"/>
                  </a:cubicBezTo>
                  <a:cubicBezTo>
                    <a:pt x="14421" y="657"/>
                    <a:pt x="14455" y="589"/>
                    <a:pt x="14493" y="523"/>
                  </a:cubicBezTo>
                  <a:cubicBezTo>
                    <a:pt x="14512" y="490"/>
                    <a:pt x="14533" y="491"/>
                    <a:pt x="14553" y="526"/>
                  </a:cubicBezTo>
                  <a:cubicBezTo>
                    <a:pt x="14577" y="570"/>
                    <a:pt x="14580" y="621"/>
                    <a:pt x="14591" y="669"/>
                  </a:cubicBezTo>
                  <a:cubicBezTo>
                    <a:pt x="14593" y="677"/>
                    <a:pt x="14591" y="686"/>
                    <a:pt x="14592" y="694"/>
                  </a:cubicBezTo>
                  <a:cubicBezTo>
                    <a:pt x="14593" y="702"/>
                    <a:pt x="14596" y="710"/>
                    <a:pt x="14606" y="712"/>
                  </a:cubicBezTo>
                  <a:cubicBezTo>
                    <a:pt x="14615" y="714"/>
                    <a:pt x="14624" y="711"/>
                    <a:pt x="14627" y="704"/>
                  </a:cubicBezTo>
                  <a:cubicBezTo>
                    <a:pt x="14641" y="675"/>
                    <a:pt x="14668" y="657"/>
                    <a:pt x="14687" y="632"/>
                  </a:cubicBezTo>
                  <a:cubicBezTo>
                    <a:pt x="14706" y="608"/>
                    <a:pt x="14717" y="584"/>
                    <a:pt x="14716" y="552"/>
                  </a:cubicBezTo>
                  <a:cubicBezTo>
                    <a:pt x="14713" y="476"/>
                    <a:pt x="14750" y="412"/>
                    <a:pt x="14792" y="352"/>
                  </a:cubicBezTo>
                  <a:cubicBezTo>
                    <a:pt x="14828" y="301"/>
                    <a:pt x="14898" y="308"/>
                    <a:pt x="14923" y="365"/>
                  </a:cubicBezTo>
                  <a:cubicBezTo>
                    <a:pt x="14949" y="424"/>
                    <a:pt x="14933" y="481"/>
                    <a:pt x="14894" y="528"/>
                  </a:cubicBezTo>
                  <a:cubicBezTo>
                    <a:pt x="14863" y="566"/>
                    <a:pt x="14825" y="595"/>
                    <a:pt x="14785" y="621"/>
                  </a:cubicBezTo>
                  <a:cubicBezTo>
                    <a:pt x="14762" y="636"/>
                    <a:pt x="14740" y="652"/>
                    <a:pt x="14725" y="675"/>
                  </a:cubicBezTo>
                  <a:cubicBezTo>
                    <a:pt x="14708" y="705"/>
                    <a:pt x="14718" y="726"/>
                    <a:pt x="14751" y="724"/>
                  </a:cubicBezTo>
                  <a:cubicBezTo>
                    <a:pt x="14787" y="723"/>
                    <a:pt x="14822" y="719"/>
                    <a:pt x="14857" y="721"/>
                  </a:cubicBezTo>
                  <a:cubicBezTo>
                    <a:pt x="14879" y="723"/>
                    <a:pt x="14898" y="727"/>
                    <a:pt x="14914" y="743"/>
                  </a:cubicBezTo>
                  <a:cubicBezTo>
                    <a:pt x="14950" y="778"/>
                    <a:pt x="14947" y="797"/>
                    <a:pt x="14906" y="826"/>
                  </a:cubicBezTo>
                  <a:cubicBezTo>
                    <a:pt x="14840" y="871"/>
                    <a:pt x="14771" y="888"/>
                    <a:pt x="14693" y="865"/>
                  </a:cubicBezTo>
                  <a:cubicBezTo>
                    <a:pt x="14652" y="852"/>
                    <a:pt x="14616" y="863"/>
                    <a:pt x="14587" y="898"/>
                  </a:cubicBezTo>
                  <a:cubicBezTo>
                    <a:pt x="14569" y="921"/>
                    <a:pt x="14546" y="939"/>
                    <a:pt x="14526" y="961"/>
                  </a:cubicBezTo>
                  <a:cubicBezTo>
                    <a:pt x="14518" y="970"/>
                    <a:pt x="14513" y="983"/>
                    <a:pt x="14522" y="995"/>
                  </a:cubicBezTo>
                  <a:cubicBezTo>
                    <a:pt x="14529" y="1004"/>
                    <a:pt x="14540" y="1004"/>
                    <a:pt x="14551" y="1002"/>
                  </a:cubicBezTo>
                  <a:cubicBezTo>
                    <a:pt x="14601" y="991"/>
                    <a:pt x="14652" y="980"/>
                    <a:pt x="14703" y="968"/>
                  </a:cubicBezTo>
                  <a:cubicBezTo>
                    <a:pt x="14715" y="965"/>
                    <a:pt x="14726" y="960"/>
                    <a:pt x="14738" y="957"/>
                  </a:cubicBezTo>
                  <a:cubicBezTo>
                    <a:pt x="14751" y="952"/>
                    <a:pt x="14764" y="950"/>
                    <a:pt x="14773" y="961"/>
                  </a:cubicBezTo>
                  <a:cubicBezTo>
                    <a:pt x="14784" y="973"/>
                    <a:pt x="14776" y="986"/>
                    <a:pt x="14768" y="995"/>
                  </a:cubicBezTo>
                  <a:cubicBezTo>
                    <a:pt x="14714" y="1060"/>
                    <a:pt x="14651" y="1112"/>
                    <a:pt x="14565" y="1130"/>
                  </a:cubicBezTo>
                  <a:cubicBezTo>
                    <a:pt x="14532" y="1137"/>
                    <a:pt x="14504" y="1122"/>
                    <a:pt x="14474" y="1115"/>
                  </a:cubicBezTo>
                  <a:cubicBezTo>
                    <a:pt x="14453" y="1110"/>
                    <a:pt x="14433" y="1105"/>
                    <a:pt x="14413" y="1117"/>
                  </a:cubicBezTo>
                  <a:cubicBezTo>
                    <a:pt x="14394" y="1128"/>
                    <a:pt x="14393" y="1149"/>
                    <a:pt x="14412" y="1162"/>
                  </a:cubicBezTo>
                  <a:cubicBezTo>
                    <a:pt x="14429" y="1174"/>
                    <a:pt x="14451" y="1176"/>
                    <a:pt x="14471" y="1178"/>
                  </a:cubicBezTo>
                  <a:cubicBezTo>
                    <a:pt x="14526" y="1182"/>
                    <a:pt x="14576" y="1199"/>
                    <a:pt x="14622" y="1231"/>
                  </a:cubicBezTo>
                  <a:cubicBezTo>
                    <a:pt x="14661" y="1258"/>
                    <a:pt x="14701" y="1265"/>
                    <a:pt x="14751" y="1243"/>
                  </a:cubicBezTo>
                  <a:cubicBezTo>
                    <a:pt x="14834" y="1206"/>
                    <a:pt x="14923" y="1197"/>
                    <a:pt x="15012" y="1230"/>
                  </a:cubicBezTo>
                  <a:cubicBezTo>
                    <a:pt x="15022" y="1234"/>
                    <a:pt x="15032" y="1236"/>
                    <a:pt x="15041" y="1242"/>
                  </a:cubicBezTo>
                  <a:cubicBezTo>
                    <a:pt x="15069" y="1258"/>
                    <a:pt x="15071" y="1277"/>
                    <a:pt x="15047" y="1301"/>
                  </a:cubicBezTo>
                  <a:cubicBezTo>
                    <a:pt x="15017" y="1331"/>
                    <a:pt x="14982" y="1353"/>
                    <a:pt x="14945" y="1373"/>
                  </a:cubicBezTo>
                  <a:cubicBezTo>
                    <a:pt x="14922" y="1386"/>
                    <a:pt x="14897" y="1381"/>
                    <a:pt x="14873" y="1370"/>
                  </a:cubicBezTo>
                  <a:cubicBezTo>
                    <a:pt x="14852" y="1360"/>
                    <a:pt x="14831" y="1352"/>
                    <a:pt x="14810" y="1343"/>
                  </a:cubicBezTo>
                  <a:cubicBezTo>
                    <a:pt x="14796" y="1337"/>
                    <a:pt x="14781" y="1333"/>
                    <a:pt x="14771" y="1348"/>
                  </a:cubicBezTo>
                  <a:cubicBezTo>
                    <a:pt x="14761" y="1361"/>
                    <a:pt x="14768" y="1375"/>
                    <a:pt x="14776" y="1388"/>
                  </a:cubicBezTo>
                  <a:cubicBezTo>
                    <a:pt x="14804" y="1433"/>
                    <a:pt x="14842" y="1467"/>
                    <a:pt x="14897" y="1464"/>
                  </a:cubicBezTo>
                  <a:cubicBezTo>
                    <a:pt x="14987" y="1461"/>
                    <a:pt x="15035" y="1522"/>
                    <a:pt x="15088" y="1578"/>
                  </a:cubicBezTo>
                  <a:cubicBezTo>
                    <a:pt x="15105" y="1597"/>
                    <a:pt x="15097" y="1622"/>
                    <a:pt x="15071" y="1623"/>
                  </a:cubicBezTo>
                  <a:cubicBezTo>
                    <a:pt x="15013" y="1625"/>
                    <a:pt x="14949" y="1644"/>
                    <a:pt x="14902" y="1589"/>
                  </a:cubicBezTo>
                  <a:cubicBezTo>
                    <a:pt x="14898" y="1584"/>
                    <a:pt x="14892" y="1581"/>
                    <a:pt x="14887" y="1578"/>
                  </a:cubicBezTo>
                  <a:cubicBezTo>
                    <a:pt x="14877" y="1572"/>
                    <a:pt x="14867" y="1570"/>
                    <a:pt x="14857" y="1577"/>
                  </a:cubicBezTo>
                  <a:cubicBezTo>
                    <a:pt x="14848" y="1584"/>
                    <a:pt x="14847" y="1594"/>
                    <a:pt x="14850" y="1605"/>
                  </a:cubicBezTo>
                  <a:cubicBezTo>
                    <a:pt x="14856" y="1628"/>
                    <a:pt x="14865" y="1648"/>
                    <a:pt x="14884" y="1663"/>
                  </a:cubicBezTo>
                  <a:cubicBezTo>
                    <a:pt x="14904" y="1678"/>
                    <a:pt x="14926" y="1689"/>
                    <a:pt x="14950" y="1698"/>
                  </a:cubicBezTo>
                  <a:cubicBezTo>
                    <a:pt x="15027" y="1727"/>
                    <a:pt x="15063" y="1805"/>
                    <a:pt x="15041" y="1884"/>
                  </a:cubicBezTo>
                  <a:cubicBezTo>
                    <a:pt x="15027" y="1929"/>
                    <a:pt x="15005" y="1937"/>
                    <a:pt x="14969" y="1907"/>
                  </a:cubicBezTo>
                  <a:cubicBezTo>
                    <a:pt x="14933" y="1877"/>
                    <a:pt x="14898" y="1848"/>
                    <a:pt x="14857" y="1828"/>
                  </a:cubicBezTo>
                  <a:cubicBezTo>
                    <a:pt x="14835" y="1818"/>
                    <a:pt x="14829" y="1799"/>
                    <a:pt x="14824" y="1778"/>
                  </a:cubicBezTo>
                  <a:cubicBezTo>
                    <a:pt x="14817" y="1750"/>
                    <a:pt x="14810" y="1722"/>
                    <a:pt x="14803" y="1693"/>
                  </a:cubicBezTo>
                  <a:cubicBezTo>
                    <a:pt x="14800" y="1679"/>
                    <a:pt x="14794" y="1666"/>
                    <a:pt x="14782" y="1656"/>
                  </a:cubicBezTo>
                  <a:cubicBezTo>
                    <a:pt x="14767" y="1643"/>
                    <a:pt x="14747" y="1647"/>
                    <a:pt x="14745" y="1667"/>
                  </a:cubicBezTo>
                  <a:cubicBezTo>
                    <a:pt x="14741" y="1690"/>
                    <a:pt x="14742" y="1713"/>
                    <a:pt x="14744" y="1735"/>
                  </a:cubicBezTo>
                  <a:cubicBezTo>
                    <a:pt x="14748" y="1793"/>
                    <a:pt x="14709" y="1827"/>
                    <a:pt x="14671" y="1859"/>
                  </a:cubicBezTo>
                  <a:cubicBezTo>
                    <a:pt x="14655" y="1873"/>
                    <a:pt x="14638" y="1861"/>
                    <a:pt x="14632" y="1844"/>
                  </a:cubicBezTo>
                  <a:cubicBezTo>
                    <a:pt x="14614" y="1782"/>
                    <a:pt x="14590" y="1722"/>
                    <a:pt x="14591" y="1656"/>
                  </a:cubicBezTo>
                  <a:cubicBezTo>
                    <a:pt x="14592" y="1621"/>
                    <a:pt x="14601" y="1590"/>
                    <a:pt x="14639" y="1576"/>
                  </a:cubicBezTo>
                  <a:cubicBezTo>
                    <a:pt x="14648" y="1572"/>
                    <a:pt x="14657" y="1565"/>
                    <a:pt x="14665" y="1559"/>
                  </a:cubicBezTo>
                  <a:cubicBezTo>
                    <a:pt x="14723" y="1519"/>
                    <a:pt x="14727" y="1500"/>
                    <a:pt x="14691" y="1441"/>
                  </a:cubicBezTo>
                  <a:cubicBezTo>
                    <a:pt x="14683" y="1428"/>
                    <a:pt x="14677" y="1415"/>
                    <a:pt x="14658" y="1417"/>
                  </a:cubicBezTo>
                  <a:cubicBezTo>
                    <a:pt x="14642" y="1420"/>
                    <a:pt x="14632" y="1431"/>
                    <a:pt x="14629" y="1446"/>
                  </a:cubicBezTo>
                  <a:cubicBezTo>
                    <a:pt x="14620" y="1489"/>
                    <a:pt x="14593" y="1521"/>
                    <a:pt x="14568" y="1554"/>
                  </a:cubicBezTo>
                  <a:cubicBezTo>
                    <a:pt x="14552" y="1574"/>
                    <a:pt x="14537" y="1607"/>
                    <a:pt x="14509" y="1601"/>
                  </a:cubicBezTo>
                  <a:cubicBezTo>
                    <a:pt x="14479" y="1595"/>
                    <a:pt x="14492" y="1558"/>
                    <a:pt x="14486" y="1536"/>
                  </a:cubicBezTo>
                  <a:cubicBezTo>
                    <a:pt x="14465" y="1469"/>
                    <a:pt x="14492" y="1419"/>
                    <a:pt x="14547" y="1381"/>
                  </a:cubicBezTo>
                  <a:cubicBezTo>
                    <a:pt x="14555" y="1375"/>
                    <a:pt x="14563" y="1368"/>
                    <a:pt x="14570" y="1360"/>
                  </a:cubicBezTo>
                  <a:cubicBezTo>
                    <a:pt x="14585" y="1343"/>
                    <a:pt x="14586" y="1329"/>
                    <a:pt x="14564" y="1315"/>
                  </a:cubicBezTo>
                  <a:cubicBezTo>
                    <a:pt x="14530" y="1293"/>
                    <a:pt x="14494" y="1274"/>
                    <a:pt x="14455" y="1272"/>
                  </a:cubicBezTo>
                  <a:cubicBezTo>
                    <a:pt x="14344" y="1266"/>
                    <a:pt x="14235" y="1274"/>
                    <a:pt x="14129" y="1310"/>
                  </a:cubicBezTo>
                  <a:cubicBezTo>
                    <a:pt x="14080" y="1327"/>
                    <a:pt x="14029" y="1334"/>
                    <a:pt x="13984" y="1363"/>
                  </a:cubicBezTo>
                  <a:cubicBezTo>
                    <a:pt x="13908" y="1412"/>
                    <a:pt x="13838" y="1467"/>
                    <a:pt x="13774" y="1528"/>
                  </a:cubicBezTo>
                  <a:cubicBezTo>
                    <a:pt x="13679" y="1617"/>
                    <a:pt x="13600" y="1718"/>
                    <a:pt x="13541" y="1834"/>
                  </a:cubicBezTo>
                  <a:cubicBezTo>
                    <a:pt x="13527" y="1863"/>
                    <a:pt x="13519" y="1893"/>
                    <a:pt x="13510" y="1923"/>
                  </a:cubicBezTo>
                  <a:cubicBezTo>
                    <a:pt x="13483" y="2019"/>
                    <a:pt x="13474" y="2118"/>
                    <a:pt x="13459" y="2216"/>
                  </a:cubicBezTo>
                  <a:cubicBezTo>
                    <a:pt x="13454" y="2251"/>
                    <a:pt x="13453" y="2287"/>
                    <a:pt x="13443" y="2321"/>
                  </a:cubicBezTo>
                  <a:cubicBezTo>
                    <a:pt x="13440" y="2331"/>
                    <a:pt x="13441" y="2342"/>
                    <a:pt x="13452" y="2348"/>
                  </a:cubicBezTo>
                  <a:cubicBezTo>
                    <a:pt x="13462" y="2353"/>
                    <a:pt x="13473" y="2351"/>
                    <a:pt x="13481" y="2342"/>
                  </a:cubicBezTo>
                  <a:cubicBezTo>
                    <a:pt x="13510" y="2308"/>
                    <a:pt x="13540" y="2273"/>
                    <a:pt x="13568" y="2238"/>
                  </a:cubicBezTo>
                  <a:cubicBezTo>
                    <a:pt x="13577" y="2226"/>
                    <a:pt x="13577" y="2210"/>
                    <a:pt x="13573" y="2195"/>
                  </a:cubicBezTo>
                  <a:cubicBezTo>
                    <a:pt x="13569" y="2177"/>
                    <a:pt x="13565" y="2159"/>
                    <a:pt x="13559" y="2141"/>
                  </a:cubicBezTo>
                  <a:cubicBezTo>
                    <a:pt x="13529" y="2068"/>
                    <a:pt x="13527" y="1995"/>
                    <a:pt x="13566" y="1925"/>
                  </a:cubicBezTo>
                  <a:cubicBezTo>
                    <a:pt x="13578" y="1904"/>
                    <a:pt x="13567" y="1868"/>
                    <a:pt x="13598" y="1863"/>
                  </a:cubicBezTo>
                  <a:cubicBezTo>
                    <a:pt x="13633" y="1857"/>
                    <a:pt x="13631" y="1899"/>
                    <a:pt x="13649" y="1917"/>
                  </a:cubicBezTo>
                  <a:cubicBezTo>
                    <a:pt x="13663" y="1929"/>
                    <a:pt x="13671" y="1947"/>
                    <a:pt x="13682" y="1962"/>
                  </a:cubicBezTo>
                  <a:cubicBezTo>
                    <a:pt x="13706" y="1998"/>
                    <a:pt x="13714" y="2033"/>
                    <a:pt x="13687" y="2072"/>
                  </a:cubicBezTo>
                  <a:cubicBezTo>
                    <a:pt x="13678" y="2085"/>
                    <a:pt x="13665" y="2103"/>
                    <a:pt x="13680" y="2118"/>
                  </a:cubicBezTo>
                  <a:cubicBezTo>
                    <a:pt x="13695" y="2134"/>
                    <a:pt x="13715" y="2125"/>
                    <a:pt x="13731" y="2115"/>
                  </a:cubicBezTo>
                  <a:cubicBezTo>
                    <a:pt x="13769" y="2089"/>
                    <a:pt x="13804" y="2065"/>
                    <a:pt x="13811" y="2011"/>
                  </a:cubicBezTo>
                  <a:cubicBezTo>
                    <a:pt x="13819" y="1950"/>
                    <a:pt x="13849" y="1897"/>
                    <a:pt x="13901" y="1859"/>
                  </a:cubicBezTo>
                  <a:cubicBezTo>
                    <a:pt x="13923" y="1843"/>
                    <a:pt x="13941" y="1823"/>
                    <a:pt x="13961" y="1804"/>
                  </a:cubicBezTo>
                  <a:cubicBezTo>
                    <a:pt x="13991" y="1826"/>
                    <a:pt x="14004" y="1860"/>
                    <a:pt x="14023" y="1890"/>
                  </a:cubicBezTo>
                  <a:cubicBezTo>
                    <a:pt x="14037" y="1913"/>
                    <a:pt x="14030" y="1939"/>
                    <a:pt x="14019" y="1962"/>
                  </a:cubicBezTo>
                  <a:cubicBezTo>
                    <a:pt x="14003" y="1994"/>
                    <a:pt x="13979" y="2020"/>
                    <a:pt x="13946" y="2036"/>
                  </a:cubicBezTo>
                  <a:cubicBezTo>
                    <a:pt x="13928" y="2044"/>
                    <a:pt x="13911" y="2054"/>
                    <a:pt x="13911" y="2075"/>
                  </a:cubicBezTo>
                  <a:cubicBezTo>
                    <a:pt x="13911" y="2097"/>
                    <a:pt x="13934" y="2095"/>
                    <a:pt x="13947" y="2104"/>
                  </a:cubicBezTo>
                  <a:cubicBezTo>
                    <a:pt x="13973" y="2119"/>
                    <a:pt x="14001" y="2124"/>
                    <a:pt x="14031" y="2122"/>
                  </a:cubicBezTo>
                  <a:cubicBezTo>
                    <a:pt x="14056" y="2121"/>
                    <a:pt x="14082" y="2127"/>
                    <a:pt x="14106" y="2122"/>
                  </a:cubicBezTo>
                  <a:cubicBezTo>
                    <a:pt x="14195" y="2101"/>
                    <a:pt x="14263" y="2144"/>
                    <a:pt x="14330" y="2191"/>
                  </a:cubicBezTo>
                  <a:cubicBezTo>
                    <a:pt x="14368" y="2217"/>
                    <a:pt x="14368" y="2232"/>
                    <a:pt x="14330" y="2262"/>
                  </a:cubicBezTo>
                  <a:cubicBezTo>
                    <a:pt x="14299" y="2287"/>
                    <a:pt x="14263" y="2305"/>
                    <a:pt x="14226" y="2318"/>
                  </a:cubicBezTo>
                  <a:cubicBezTo>
                    <a:pt x="14185" y="2332"/>
                    <a:pt x="14145" y="2329"/>
                    <a:pt x="14108" y="2300"/>
                  </a:cubicBezTo>
                  <a:cubicBezTo>
                    <a:pt x="14088" y="2283"/>
                    <a:pt x="14068" y="2263"/>
                    <a:pt x="14041" y="2256"/>
                  </a:cubicBezTo>
                  <a:cubicBezTo>
                    <a:pt x="14024" y="2252"/>
                    <a:pt x="14017" y="2260"/>
                    <a:pt x="14020" y="2277"/>
                  </a:cubicBezTo>
                  <a:cubicBezTo>
                    <a:pt x="14022" y="2292"/>
                    <a:pt x="14032" y="2303"/>
                    <a:pt x="14041" y="2314"/>
                  </a:cubicBezTo>
                  <a:cubicBezTo>
                    <a:pt x="14063" y="2341"/>
                    <a:pt x="14072" y="2373"/>
                    <a:pt x="14079" y="2406"/>
                  </a:cubicBezTo>
                  <a:cubicBezTo>
                    <a:pt x="14085" y="2436"/>
                    <a:pt x="14070" y="2450"/>
                    <a:pt x="14041" y="2444"/>
                  </a:cubicBezTo>
                  <a:cubicBezTo>
                    <a:pt x="13948" y="2425"/>
                    <a:pt x="13872" y="2385"/>
                    <a:pt x="13853" y="2280"/>
                  </a:cubicBezTo>
                  <a:cubicBezTo>
                    <a:pt x="13848" y="2253"/>
                    <a:pt x="13837" y="2228"/>
                    <a:pt x="13820" y="2206"/>
                  </a:cubicBezTo>
                  <a:cubicBezTo>
                    <a:pt x="13800" y="2181"/>
                    <a:pt x="13783" y="2179"/>
                    <a:pt x="13756" y="2198"/>
                  </a:cubicBezTo>
                  <a:cubicBezTo>
                    <a:pt x="13730" y="2215"/>
                    <a:pt x="13726" y="2228"/>
                    <a:pt x="13752" y="2246"/>
                  </a:cubicBezTo>
                  <a:cubicBezTo>
                    <a:pt x="13802" y="2280"/>
                    <a:pt x="13820" y="2334"/>
                    <a:pt x="13843" y="2384"/>
                  </a:cubicBezTo>
                  <a:cubicBezTo>
                    <a:pt x="13855" y="2409"/>
                    <a:pt x="13871" y="2444"/>
                    <a:pt x="13848" y="2466"/>
                  </a:cubicBezTo>
                  <a:cubicBezTo>
                    <a:pt x="13823" y="2491"/>
                    <a:pt x="13790" y="2470"/>
                    <a:pt x="13762" y="2457"/>
                  </a:cubicBezTo>
                  <a:cubicBezTo>
                    <a:pt x="13745" y="2450"/>
                    <a:pt x="13728" y="2442"/>
                    <a:pt x="13712" y="2432"/>
                  </a:cubicBezTo>
                  <a:cubicBezTo>
                    <a:pt x="13683" y="2414"/>
                    <a:pt x="13658" y="2392"/>
                    <a:pt x="13655" y="2355"/>
                  </a:cubicBezTo>
                  <a:cubicBezTo>
                    <a:pt x="13654" y="2349"/>
                    <a:pt x="13654" y="2342"/>
                    <a:pt x="13652" y="2337"/>
                  </a:cubicBezTo>
                  <a:cubicBezTo>
                    <a:pt x="13646" y="2321"/>
                    <a:pt x="13640" y="2304"/>
                    <a:pt x="13621" y="2301"/>
                  </a:cubicBezTo>
                  <a:cubicBezTo>
                    <a:pt x="13603" y="2298"/>
                    <a:pt x="13596" y="2313"/>
                    <a:pt x="13586" y="2323"/>
                  </a:cubicBezTo>
                  <a:cubicBezTo>
                    <a:pt x="13508" y="2410"/>
                    <a:pt x="13461" y="2509"/>
                    <a:pt x="13457" y="2627"/>
                  </a:cubicBezTo>
                  <a:cubicBezTo>
                    <a:pt x="13456" y="2662"/>
                    <a:pt x="13447" y="2695"/>
                    <a:pt x="13450" y="2732"/>
                  </a:cubicBezTo>
                  <a:cubicBezTo>
                    <a:pt x="13461" y="2841"/>
                    <a:pt x="13519" y="2921"/>
                    <a:pt x="13597" y="2990"/>
                  </a:cubicBezTo>
                  <a:cubicBezTo>
                    <a:pt x="13622" y="3012"/>
                    <a:pt x="13649" y="3032"/>
                    <a:pt x="13672" y="3057"/>
                  </a:cubicBezTo>
                  <a:cubicBezTo>
                    <a:pt x="13717" y="3106"/>
                    <a:pt x="13727" y="3170"/>
                    <a:pt x="13742" y="3232"/>
                  </a:cubicBezTo>
                  <a:cubicBezTo>
                    <a:pt x="13745" y="3244"/>
                    <a:pt x="13743" y="3257"/>
                    <a:pt x="13745" y="3270"/>
                  </a:cubicBezTo>
                  <a:cubicBezTo>
                    <a:pt x="13748" y="3292"/>
                    <a:pt x="13761" y="3298"/>
                    <a:pt x="13780" y="3289"/>
                  </a:cubicBezTo>
                  <a:cubicBezTo>
                    <a:pt x="13806" y="3275"/>
                    <a:pt x="13830" y="3258"/>
                    <a:pt x="13850" y="3236"/>
                  </a:cubicBezTo>
                  <a:cubicBezTo>
                    <a:pt x="13889" y="3192"/>
                    <a:pt x="13884" y="3136"/>
                    <a:pt x="13832" y="3110"/>
                  </a:cubicBezTo>
                  <a:cubicBezTo>
                    <a:pt x="13775" y="3082"/>
                    <a:pt x="13733" y="3034"/>
                    <a:pt x="13677" y="3007"/>
                  </a:cubicBezTo>
                  <a:cubicBezTo>
                    <a:pt x="13653" y="2995"/>
                    <a:pt x="13654" y="2976"/>
                    <a:pt x="13678" y="2968"/>
                  </a:cubicBezTo>
                  <a:cubicBezTo>
                    <a:pt x="13727" y="2951"/>
                    <a:pt x="13777" y="2930"/>
                    <a:pt x="13824" y="2974"/>
                  </a:cubicBezTo>
                  <a:cubicBezTo>
                    <a:pt x="13831" y="2981"/>
                    <a:pt x="13842" y="2987"/>
                    <a:pt x="13852" y="2980"/>
                  </a:cubicBezTo>
                  <a:cubicBezTo>
                    <a:pt x="13865" y="2971"/>
                    <a:pt x="13864" y="2959"/>
                    <a:pt x="13861" y="2946"/>
                  </a:cubicBezTo>
                  <a:cubicBezTo>
                    <a:pt x="13851" y="2901"/>
                    <a:pt x="13819" y="2874"/>
                    <a:pt x="13765" y="2874"/>
                  </a:cubicBezTo>
                  <a:cubicBezTo>
                    <a:pt x="13723" y="2874"/>
                    <a:pt x="13682" y="2871"/>
                    <a:pt x="13641" y="2864"/>
                  </a:cubicBezTo>
                  <a:cubicBezTo>
                    <a:pt x="13608" y="2859"/>
                    <a:pt x="13583" y="2841"/>
                    <a:pt x="13557" y="2824"/>
                  </a:cubicBezTo>
                  <a:cubicBezTo>
                    <a:pt x="13534" y="2810"/>
                    <a:pt x="13537" y="2793"/>
                    <a:pt x="13560" y="2776"/>
                  </a:cubicBezTo>
                  <a:cubicBezTo>
                    <a:pt x="13604" y="2743"/>
                    <a:pt x="13652" y="2743"/>
                    <a:pt x="13702" y="2762"/>
                  </a:cubicBezTo>
                  <a:cubicBezTo>
                    <a:pt x="13719" y="2768"/>
                    <a:pt x="13740" y="2786"/>
                    <a:pt x="13752" y="2765"/>
                  </a:cubicBezTo>
                  <a:cubicBezTo>
                    <a:pt x="13765" y="2744"/>
                    <a:pt x="13744" y="2727"/>
                    <a:pt x="13727" y="2715"/>
                  </a:cubicBezTo>
                  <a:cubicBezTo>
                    <a:pt x="13715" y="2707"/>
                    <a:pt x="13702" y="2698"/>
                    <a:pt x="13688" y="2695"/>
                  </a:cubicBezTo>
                  <a:cubicBezTo>
                    <a:pt x="13647" y="2687"/>
                    <a:pt x="13629" y="2658"/>
                    <a:pt x="13621" y="2622"/>
                  </a:cubicBezTo>
                  <a:cubicBezTo>
                    <a:pt x="13611" y="2581"/>
                    <a:pt x="13602" y="2540"/>
                    <a:pt x="13562" y="2516"/>
                  </a:cubicBezTo>
                  <a:cubicBezTo>
                    <a:pt x="13558" y="2513"/>
                    <a:pt x="13556" y="2505"/>
                    <a:pt x="13556" y="2500"/>
                  </a:cubicBezTo>
                  <a:cubicBezTo>
                    <a:pt x="13558" y="2490"/>
                    <a:pt x="13568" y="2487"/>
                    <a:pt x="13576" y="2489"/>
                  </a:cubicBezTo>
                  <a:cubicBezTo>
                    <a:pt x="13625" y="2504"/>
                    <a:pt x="13678" y="2514"/>
                    <a:pt x="13724" y="2537"/>
                  </a:cubicBezTo>
                  <a:cubicBezTo>
                    <a:pt x="13759" y="2554"/>
                    <a:pt x="13784" y="2588"/>
                    <a:pt x="13781" y="2634"/>
                  </a:cubicBezTo>
                  <a:cubicBezTo>
                    <a:pt x="13778" y="2672"/>
                    <a:pt x="13796" y="2702"/>
                    <a:pt x="13816" y="2731"/>
                  </a:cubicBezTo>
                  <a:cubicBezTo>
                    <a:pt x="13835" y="2757"/>
                    <a:pt x="13862" y="2755"/>
                    <a:pt x="13865" y="2725"/>
                  </a:cubicBezTo>
                  <a:cubicBezTo>
                    <a:pt x="13872" y="2652"/>
                    <a:pt x="13928" y="2610"/>
                    <a:pt x="13967" y="2558"/>
                  </a:cubicBezTo>
                  <a:cubicBezTo>
                    <a:pt x="13986" y="2534"/>
                    <a:pt x="14002" y="2539"/>
                    <a:pt x="14010" y="2569"/>
                  </a:cubicBezTo>
                  <a:cubicBezTo>
                    <a:pt x="14022" y="2620"/>
                    <a:pt x="14027" y="2672"/>
                    <a:pt x="14020" y="2724"/>
                  </a:cubicBezTo>
                  <a:cubicBezTo>
                    <a:pt x="14015" y="2759"/>
                    <a:pt x="13997" y="2785"/>
                    <a:pt x="13961" y="2797"/>
                  </a:cubicBezTo>
                  <a:cubicBezTo>
                    <a:pt x="13914" y="2813"/>
                    <a:pt x="13914" y="2815"/>
                    <a:pt x="13915" y="2864"/>
                  </a:cubicBezTo>
                  <a:cubicBezTo>
                    <a:pt x="13915" y="2874"/>
                    <a:pt x="13915" y="2884"/>
                    <a:pt x="13917" y="2895"/>
                  </a:cubicBezTo>
                  <a:cubicBezTo>
                    <a:pt x="13919" y="2913"/>
                    <a:pt x="13922" y="2934"/>
                    <a:pt x="13941" y="2943"/>
                  </a:cubicBezTo>
                  <a:cubicBezTo>
                    <a:pt x="13964" y="2953"/>
                    <a:pt x="13972" y="2930"/>
                    <a:pt x="13986" y="2918"/>
                  </a:cubicBezTo>
                  <a:cubicBezTo>
                    <a:pt x="14014" y="2896"/>
                    <a:pt x="14041" y="2874"/>
                    <a:pt x="14070" y="2854"/>
                  </a:cubicBezTo>
                  <a:cubicBezTo>
                    <a:pt x="14091" y="2839"/>
                    <a:pt x="14106" y="2845"/>
                    <a:pt x="14108" y="2871"/>
                  </a:cubicBezTo>
                  <a:cubicBezTo>
                    <a:pt x="14111" y="2904"/>
                    <a:pt x="14114" y="2938"/>
                    <a:pt x="14110" y="2971"/>
                  </a:cubicBezTo>
                  <a:cubicBezTo>
                    <a:pt x="14105" y="3019"/>
                    <a:pt x="14073" y="3048"/>
                    <a:pt x="14030" y="3065"/>
                  </a:cubicBezTo>
                  <a:cubicBezTo>
                    <a:pt x="14018" y="3069"/>
                    <a:pt x="14005" y="3071"/>
                    <a:pt x="13993" y="3073"/>
                  </a:cubicBezTo>
                  <a:cubicBezTo>
                    <a:pt x="13969" y="3078"/>
                    <a:pt x="13957" y="3095"/>
                    <a:pt x="13958" y="3118"/>
                  </a:cubicBezTo>
                  <a:cubicBezTo>
                    <a:pt x="13965" y="3229"/>
                    <a:pt x="13903" y="3306"/>
                    <a:pt x="13827" y="3373"/>
                  </a:cubicBezTo>
                  <a:cubicBezTo>
                    <a:pt x="13796" y="3401"/>
                    <a:pt x="13773" y="3429"/>
                    <a:pt x="13763" y="3469"/>
                  </a:cubicBezTo>
                  <a:cubicBezTo>
                    <a:pt x="13747" y="3532"/>
                    <a:pt x="13737" y="3595"/>
                    <a:pt x="13734" y="3660"/>
                  </a:cubicBezTo>
                  <a:cubicBezTo>
                    <a:pt x="13730" y="3757"/>
                    <a:pt x="13719" y="3854"/>
                    <a:pt x="13705" y="3951"/>
                  </a:cubicBezTo>
                  <a:cubicBezTo>
                    <a:pt x="13700" y="3987"/>
                    <a:pt x="13680" y="4021"/>
                    <a:pt x="13669" y="4057"/>
                  </a:cubicBezTo>
                  <a:cubicBezTo>
                    <a:pt x="13658" y="4096"/>
                    <a:pt x="13672" y="4110"/>
                    <a:pt x="13711" y="4095"/>
                  </a:cubicBezTo>
                  <a:cubicBezTo>
                    <a:pt x="13801" y="4060"/>
                    <a:pt x="13877" y="4003"/>
                    <a:pt x="13914" y="3913"/>
                  </a:cubicBezTo>
                  <a:cubicBezTo>
                    <a:pt x="13966" y="3786"/>
                    <a:pt x="14049" y="3685"/>
                    <a:pt x="14149" y="3596"/>
                  </a:cubicBezTo>
                  <a:cubicBezTo>
                    <a:pt x="14162" y="3585"/>
                    <a:pt x="14174" y="3574"/>
                    <a:pt x="14188" y="3564"/>
                  </a:cubicBezTo>
                  <a:cubicBezTo>
                    <a:pt x="14264" y="3508"/>
                    <a:pt x="14289" y="3430"/>
                    <a:pt x="14280" y="3340"/>
                  </a:cubicBezTo>
                  <a:cubicBezTo>
                    <a:pt x="14276" y="3303"/>
                    <a:pt x="14286" y="3269"/>
                    <a:pt x="14288" y="3234"/>
                  </a:cubicBezTo>
                  <a:cubicBezTo>
                    <a:pt x="14288" y="3214"/>
                    <a:pt x="14300" y="3200"/>
                    <a:pt x="14312" y="3185"/>
                  </a:cubicBezTo>
                  <a:cubicBezTo>
                    <a:pt x="14340" y="3147"/>
                    <a:pt x="14345" y="3105"/>
                    <a:pt x="14313" y="3070"/>
                  </a:cubicBezTo>
                  <a:cubicBezTo>
                    <a:pt x="14260" y="3010"/>
                    <a:pt x="14245" y="2933"/>
                    <a:pt x="14211" y="2865"/>
                  </a:cubicBezTo>
                  <a:cubicBezTo>
                    <a:pt x="14200" y="2843"/>
                    <a:pt x="14210" y="2831"/>
                    <a:pt x="14237" y="2831"/>
                  </a:cubicBezTo>
                  <a:cubicBezTo>
                    <a:pt x="14316" y="2829"/>
                    <a:pt x="14378" y="2896"/>
                    <a:pt x="14392" y="2975"/>
                  </a:cubicBezTo>
                  <a:cubicBezTo>
                    <a:pt x="14394" y="2988"/>
                    <a:pt x="14392" y="3001"/>
                    <a:pt x="14395" y="3013"/>
                  </a:cubicBezTo>
                  <a:cubicBezTo>
                    <a:pt x="14399" y="3034"/>
                    <a:pt x="14416" y="3039"/>
                    <a:pt x="14431" y="3023"/>
                  </a:cubicBezTo>
                  <a:cubicBezTo>
                    <a:pt x="14452" y="3000"/>
                    <a:pt x="14469" y="2974"/>
                    <a:pt x="14469" y="2940"/>
                  </a:cubicBezTo>
                  <a:cubicBezTo>
                    <a:pt x="14469" y="2917"/>
                    <a:pt x="14467" y="2895"/>
                    <a:pt x="14467" y="2872"/>
                  </a:cubicBezTo>
                  <a:cubicBezTo>
                    <a:pt x="14465" y="2793"/>
                    <a:pt x="14500" y="2751"/>
                    <a:pt x="14578" y="2740"/>
                  </a:cubicBezTo>
                  <a:cubicBezTo>
                    <a:pt x="14584" y="2739"/>
                    <a:pt x="14590" y="2740"/>
                    <a:pt x="14597" y="2738"/>
                  </a:cubicBezTo>
                  <a:cubicBezTo>
                    <a:pt x="14630" y="2732"/>
                    <a:pt x="14639" y="2721"/>
                    <a:pt x="14633" y="2687"/>
                  </a:cubicBezTo>
                  <a:cubicBezTo>
                    <a:pt x="14629" y="2663"/>
                    <a:pt x="14625" y="2638"/>
                    <a:pt x="14617" y="2614"/>
                  </a:cubicBezTo>
                  <a:cubicBezTo>
                    <a:pt x="14606" y="2581"/>
                    <a:pt x="14618" y="2568"/>
                    <a:pt x="14648" y="2578"/>
                  </a:cubicBezTo>
                  <a:cubicBezTo>
                    <a:pt x="14737" y="2606"/>
                    <a:pt x="14808" y="2656"/>
                    <a:pt x="14846" y="2746"/>
                  </a:cubicBezTo>
                  <a:cubicBezTo>
                    <a:pt x="14856" y="2769"/>
                    <a:pt x="14854" y="2794"/>
                    <a:pt x="14854" y="2819"/>
                  </a:cubicBezTo>
                  <a:cubicBezTo>
                    <a:pt x="14854" y="2830"/>
                    <a:pt x="14855" y="2841"/>
                    <a:pt x="14867" y="2845"/>
                  </a:cubicBezTo>
                  <a:cubicBezTo>
                    <a:pt x="14876" y="2848"/>
                    <a:pt x="14884" y="2845"/>
                    <a:pt x="14889" y="2838"/>
                  </a:cubicBezTo>
                  <a:cubicBezTo>
                    <a:pt x="14930" y="2785"/>
                    <a:pt x="14965" y="2729"/>
                    <a:pt x="14967" y="2659"/>
                  </a:cubicBezTo>
                  <a:cubicBezTo>
                    <a:pt x="14968" y="2626"/>
                    <a:pt x="14950" y="2596"/>
                    <a:pt x="14922" y="2581"/>
                  </a:cubicBezTo>
                  <a:cubicBezTo>
                    <a:pt x="14882" y="2558"/>
                    <a:pt x="14858" y="2522"/>
                    <a:pt x="14834" y="2486"/>
                  </a:cubicBezTo>
                  <a:cubicBezTo>
                    <a:pt x="14810" y="2450"/>
                    <a:pt x="14795" y="2409"/>
                    <a:pt x="14755" y="2384"/>
                  </a:cubicBezTo>
                  <a:cubicBezTo>
                    <a:pt x="14743" y="2376"/>
                    <a:pt x="14736" y="2362"/>
                    <a:pt x="14741" y="2346"/>
                  </a:cubicBezTo>
                  <a:cubicBezTo>
                    <a:pt x="14747" y="2329"/>
                    <a:pt x="14762" y="2326"/>
                    <a:pt x="14777" y="2326"/>
                  </a:cubicBezTo>
                  <a:cubicBezTo>
                    <a:pt x="14846" y="2326"/>
                    <a:pt x="14913" y="2326"/>
                    <a:pt x="14972" y="2375"/>
                  </a:cubicBezTo>
                  <a:cubicBezTo>
                    <a:pt x="15005" y="2403"/>
                    <a:pt x="15025" y="2432"/>
                    <a:pt x="15019" y="2476"/>
                  </a:cubicBezTo>
                  <a:cubicBezTo>
                    <a:pt x="15017" y="2486"/>
                    <a:pt x="15015" y="2497"/>
                    <a:pt x="15016" y="2507"/>
                  </a:cubicBezTo>
                  <a:cubicBezTo>
                    <a:pt x="15017" y="2521"/>
                    <a:pt x="15024" y="2531"/>
                    <a:pt x="15038" y="2533"/>
                  </a:cubicBezTo>
                  <a:cubicBezTo>
                    <a:pt x="15051" y="2534"/>
                    <a:pt x="15058" y="2526"/>
                    <a:pt x="15062" y="2516"/>
                  </a:cubicBezTo>
                  <a:cubicBezTo>
                    <a:pt x="15083" y="2469"/>
                    <a:pt x="15090" y="2420"/>
                    <a:pt x="15070" y="2371"/>
                  </a:cubicBezTo>
                  <a:cubicBezTo>
                    <a:pt x="15065" y="2358"/>
                    <a:pt x="15058" y="2345"/>
                    <a:pt x="15051" y="2332"/>
                  </a:cubicBezTo>
                  <a:cubicBezTo>
                    <a:pt x="15033" y="2300"/>
                    <a:pt x="15034" y="2269"/>
                    <a:pt x="15053" y="2237"/>
                  </a:cubicBezTo>
                  <a:cubicBezTo>
                    <a:pt x="15083" y="2187"/>
                    <a:pt x="15117" y="2140"/>
                    <a:pt x="15154" y="2095"/>
                  </a:cubicBezTo>
                  <a:cubicBezTo>
                    <a:pt x="15178" y="2068"/>
                    <a:pt x="15189" y="2069"/>
                    <a:pt x="15205" y="2100"/>
                  </a:cubicBezTo>
                  <a:cubicBezTo>
                    <a:pt x="15221" y="2133"/>
                    <a:pt x="15238" y="2167"/>
                    <a:pt x="15249" y="2203"/>
                  </a:cubicBezTo>
                  <a:cubicBezTo>
                    <a:pt x="15263" y="2253"/>
                    <a:pt x="15250" y="2303"/>
                    <a:pt x="15210" y="2333"/>
                  </a:cubicBezTo>
                  <a:cubicBezTo>
                    <a:pt x="15127" y="2395"/>
                    <a:pt x="15131" y="2490"/>
                    <a:pt x="15106" y="2574"/>
                  </a:cubicBezTo>
                  <a:cubicBezTo>
                    <a:pt x="15100" y="2595"/>
                    <a:pt x="15115" y="2603"/>
                    <a:pt x="15137" y="2593"/>
                  </a:cubicBezTo>
                  <a:cubicBezTo>
                    <a:pt x="15153" y="2585"/>
                    <a:pt x="15170" y="2575"/>
                    <a:pt x="15185" y="2565"/>
                  </a:cubicBezTo>
                  <a:cubicBezTo>
                    <a:pt x="15200" y="2556"/>
                    <a:pt x="15215" y="2549"/>
                    <a:pt x="15232" y="2552"/>
                  </a:cubicBezTo>
                  <a:cubicBezTo>
                    <a:pt x="15274" y="2559"/>
                    <a:pt x="15315" y="2557"/>
                    <a:pt x="15355" y="2539"/>
                  </a:cubicBezTo>
                  <a:cubicBezTo>
                    <a:pt x="15368" y="2533"/>
                    <a:pt x="15381" y="2540"/>
                    <a:pt x="15379" y="2556"/>
                  </a:cubicBezTo>
                  <a:cubicBezTo>
                    <a:pt x="15369" y="2666"/>
                    <a:pt x="15294" y="2757"/>
                    <a:pt x="15171" y="2751"/>
                  </a:cubicBezTo>
                  <a:cubicBezTo>
                    <a:pt x="15154" y="2751"/>
                    <a:pt x="15140" y="2743"/>
                    <a:pt x="15125" y="2734"/>
                  </a:cubicBezTo>
                  <a:cubicBezTo>
                    <a:pt x="15111" y="2725"/>
                    <a:pt x="15096" y="2717"/>
                    <a:pt x="15081" y="2712"/>
                  </a:cubicBezTo>
                  <a:cubicBezTo>
                    <a:pt x="15058" y="2705"/>
                    <a:pt x="15038" y="2710"/>
                    <a:pt x="15029" y="2734"/>
                  </a:cubicBezTo>
                  <a:cubicBezTo>
                    <a:pt x="15008" y="2793"/>
                    <a:pt x="14978" y="2847"/>
                    <a:pt x="14937" y="2896"/>
                  </a:cubicBezTo>
                  <a:cubicBezTo>
                    <a:pt x="14929" y="2905"/>
                    <a:pt x="14924" y="2918"/>
                    <a:pt x="14935" y="2929"/>
                  </a:cubicBezTo>
                  <a:cubicBezTo>
                    <a:pt x="14944" y="2938"/>
                    <a:pt x="14956" y="2934"/>
                    <a:pt x="14964" y="2929"/>
                  </a:cubicBezTo>
                  <a:cubicBezTo>
                    <a:pt x="14991" y="2911"/>
                    <a:pt x="15017" y="2914"/>
                    <a:pt x="15047" y="2924"/>
                  </a:cubicBezTo>
                  <a:cubicBezTo>
                    <a:pt x="15092" y="2939"/>
                    <a:pt x="15140" y="2947"/>
                    <a:pt x="15188" y="2927"/>
                  </a:cubicBezTo>
                  <a:cubicBezTo>
                    <a:pt x="15195" y="2924"/>
                    <a:pt x="15204" y="2923"/>
                    <a:pt x="15212" y="2924"/>
                  </a:cubicBezTo>
                  <a:cubicBezTo>
                    <a:pt x="15224" y="2925"/>
                    <a:pt x="15231" y="2932"/>
                    <a:pt x="15228" y="2945"/>
                  </a:cubicBezTo>
                  <a:cubicBezTo>
                    <a:pt x="15215" y="3004"/>
                    <a:pt x="15103" y="3106"/>
                    <a:pt x="15045" y="3111"/>
                  </a:cubicBezTo>
                  <a:cubicBezTo>
                    <a:pt x="15010" y="3114"/>
                    <a:pt x="14982" y="3094"/>
                    <a:pt x="14954" y="3075"/>
                  </a:cubicBezTo>
                  <a:cubicBezTo>
                    <a:pt x="14886" y="3029"/>
                    <a:pt x="14886" y="3028"/>
                    <a:pt x="14834" y="3092"/>
                  </a:cubicBezTo>
                  <a:cubicBezTo>
                    <a:pt x="14818" y="3113"/>
                    <a:pt x="14803" y="3136"/>
                    <a:pt x="14789" y="3159"/>
                  </a:cubicBezTo>
                  <a:cubicBezTo>
                    <a:pt x="14735" y="3247"/>
                    <a:pt x="14664" y="3319"/>
                    <a:pt x="14587" y="3387"/>
                  </a:cubicBezTo>
                  <a:cubicBezTo>
                    <a:pt x="14575" y="3397"/>
                    <a:pt x="14555" y="3406"/>
                    <a:pt x="14562" y="3426"/>
                  </a:cubicBezTo>
                  <a:cubicBezTo>
                    <a:pt x="14569" y="3445"/>
                    <a:pt x="14590" y="3441"/>
                    <a:pt x="14606" y="3438"/>
                  </a:cubicBezTo>
                  <a:cubicBezTo>
                    <a:pt x="14641" y="3430"/>
                    <a:pt x="14676" y="3434"/>
                    <a:pt x="14711" y="3435"/>
                  </a:cubicBezTo>
                  <a:cubicBezTo>
                    <a:pt x="14734" y="3436"/>
                    <a:pt x="14757" y="3437"/>
                    <a:pt x="14777" y="3451"/>
                  </a:cubicBezTo>
                  <a:cubicBezTo>
                    <a:pt x="14805" y="3470"/>
                    <a:pt x="14823" y="3458"/>
                    <a:pt x="14839" y="3434"/>
                  </a:cubicBezTo>
                  <a:cubicBezTo>
                    <a:pt x="14886" y="3365"/>
                    <a:pt x="14950" y="3330"/>
                    <a:pt x="15034" y="3332"/>
                  </a:cubicBezTo>
                  <a:cubicBezTo>
                    <a:pt x="15061" y="3332"/>
                    <a:pt x="15088" y="3323"/>
                    <a:pt x="15114" y="3322"/>
                  </a:cubicBezTo>
                  <a:cubicBezTo>
                    <a:pt x="15139" y="3321"/>
                    <a:pt x="15149" y="3337"/>
                    <a:pt x="15138" y="3359"/>
                  </a:cubicBezTo>
                  <a:cubicBezTo>
                    <a:pt x="15118" y="3403"/>
                    <a:pt x="15091" y="3442"/>
                    <a:pt x="15052" y="3472"/>
                  </a:cubicBezTo>
                  <a:cubicBezTo>
                    <a:pt x="15037" y="3483"/>
                    <a:pt x="15020" y="3490"/>
                    <a:pt x="15000" y="3490"/>
                  </a:cubicBezTo>
                  <a:cubicBezTo>
                    <a:pt x="14981" y="3490"/>
                    <a:pt x="14963" y="3490"/>
                    <a:pt x="14944" y="3490"/>
                  </a:cubicBezTo>
                  <a:cubicBezTo>
                    <a:pt x="14929" y="3489"/>
                    <a:pt x="14913" y="3490"/>
                    <a:pt x="14909" y="3508"/>
                  </a:cubicBezTo>
                  <a:cubicBezTo>
                    <a:pt x="14905" y="3525"/>
                    <a:pt x="14918" y="3535"/>
                    <a:pt x="14931" y="3542"/>
                  </a:cubicBezTo>
                  <a:cubicBezTo>
                    <a:pt x="14951" y="3553"/>
                    <a:pt x="14974" y="3559"/>
                    <a:pt x="14997" y="3561"/>
                  </a:cubicBezTo>
                  <a:cubicBezTo>
                    <a:pt x="15009" y="3561"/>
                    <a:pt x="15022" y="3560"/>
                    <a:pt x="15034" y="3560"/>
                  </a:cubicBezTo>
                  <a:cubicBezTo>
                    <a:pt x="15091" y="3560"/>
                    <a:pt x="15139" y="3574"/>
                    <a:pt x="15175" y="3625"/>
                  </a:cubicBezTo>
                  <a:cubicBezTo>
                    <a:pt x="15205" y="3667"/>
                    <a:pt x="15220" y="3664"/>
                    <a:pt x="15245" y="3618"/>
                  </a:cubicBezTo>
                  <a:cubicBezTo>
                    <a:pt x="15255" y="3600"/>
                    <a:pt x="15265" y="3581"/>
                    <a:pt x="15272" y="3562"/>
                  </a:cubicBezTo>
                  <a:cubicBezTo>
                    <a:pt x="15292" y="3506"/>
                    <a:pt x="15325" y="3459"/>
                    <a:pt x="15369" y="3419"/>
                  </a:cubicBezTo>
                  <a:cubicBezTo>
                    <a:pt x="15415" y="3377"/>
                    <a:pt x="15459" y="3333"/>
                    <a:pt x="15501" y="3287"/>
                  </a:cubicBezTo>
                  <a:cubicBezTo>
                    <a:pt x="15542" y="3243"/>
                    <a:pt x="15538" y="3201"/>
                    <a:pt x="15497" y="3161"/>
                  </a:cubicBezTo>
                  <a:cubicBezTo>
                    <a:pt x="15481" y="3145"/>
                    <a:pt x="15464" y="3140"/>
                    <a:pt x="15449" y="3158"/>
                  </a:cubicBezTo>
                  <a:cubicBezTo>
                    <a:pt x="15423" y="3189"/>
                    <a:pt x="15386" y="3194"/>
                    <a:pt x="15353" y="3197"/>
                  </a:cubicBezTo>
                  <a:cubicBezTo>
                    <a:pt x="15300" y="3203"/>
                    <a:pt x="15250" y="3210"/>
                    <a:pt x="15202" y="3233"/>
                  </a:cubicBezTo>
                  <a:cubicBezTo>
                    <a:pt x="15192" y="3237"/>
                    <a:pt x="15182" y="3239"/>
                    <a:pt x="15174" y="3230"/>
                  </a:cubicBezTo>
                  <a:cubicBezTo>
                    <a:pt x="15165" y="3220"/>
                    <a:pt x="15170" y="3210"/>
                    <a:pt x="15176" y="3202"/>
                  </a:cubicBezTo>
                  <a:cubicBezTo>
                    <a:pt x="15197" y="3171"/>
                    <a:pt x="15216" y="3138"/>
                    <a:pt x="15238" y="3109"/>
                  </a:cubicBezTo>
                  <a:cubicBezTo>
                    <a:pt x="15271" y="3064"/>
                    <a:pt x="15326" y="3060"/>
                    <a:pt x="15378" y="3060"/>
                  </a:cubicBezTo>
                  <a:cubicBezTo>
                    <a:pt x="15386" y="3060"/>
                    <a:pt x="15394" y="3065"/>
                    <a:pt x="15402" y="3067"/>
                  </a:cubicBezTo>
                  <a:cubicBezTo>
                    <a:pt x="15415" y="3070"/>
                    <a:pt x="15428" y="3068"/>
                    <a:pt x="15434" y="3055"/>
                  </a:cubicBezTo>
                  <a:cubicBezTo>
                    <a:pt x="15441" y="3041"/>
                    <a:pt x="15432" y="3031"/>
                    <a:pt x="15424" y="3021"/>
                  </a:cubicBezTo>
                  <a:cubicBezTo>
                    <a:pt x="15415" y="3009"/>
                    <a:pt x="15401" y="3005"/>
                    <a:pt x="15388" y="2998"/>
                  </a:cubicBezTo>
                  <a:cubicBezTo>
                    <a:pt x="15370" y="2988"/>
                    <a:pt x="15351" y="2978"/>
                    <a:pt x="15341" y="2958"/>
                  </a:cubicBezTo>
                  <a:cubicBezTo>
                    <a:pt x="15325" y="2924"/>
                    <a:pt x="15307" y="2892"/>
                    <a:pt x="15278" y="2867"/>
                  </a:cubicBezTo>
                  <a:cubicBezTo>
                    <a:pt x="15263" y="2854"/>
                    <a:pt x="15268" y="2841"/>
                    <a:pt x="15288" y="2837"/>
                  </a:cubicBezTo>
                  <a:cubicBezTo>
                    <a:pt x="15388" y="2817"/>
                    <a:pt x="15447" y="2852"/>
                    <a:pt x="15479" y="2950"/>
                  </a:cubicBezTo>
                  <a:cubicBezTo>
                    <a:pt x="15482" y="2960"/>
                    <a:pt x="15485" y="2970"/>
                    <a:pt x="15490" y="2979"/>
                  </a:cubicBezTo>
                  <a:cubicBezTo>
                    <a:pt x="15496" y="2989"/>
                    <a:pt x="15506" y="2992"/>
                    <a:pt x="15517" y="2988"/>
                  </a:cubicBezTo>
                  <a:cubicBezTo>
                    <a:pt x="15526" y="2985"/>
                    <a:pt x="15529" y="2976"/>
                    <a:pt x="15529" y="2968"/>
                  </a:cubicBezTo>
                  <a:cubicBezTo>
                    <a:pt x="15528" y="2954"/>
                    <a:pt x="15526" y="2939"/>
                    <a:pt x="15523" y="2925"/>
                  </a:cubicBezTo>
                  <a:cubicBezTo>
                    <a:pt x="15511" y="2873"/>
                    <a:pt x="15534" y="2831"/>
                    <a:pt x="15560" y="2791"/>
                  </a:cubicBezTo>
                  <a:cubicBezTo>
                    <a:pt x="15573" y="2771"/>
                    <a:pt x="15588" y="2766"/>
                    <a:pt x="15604" y="2788"/>
                  </a:cubicBezTo>
                  <a:cubicBezTo>
                    <a:pt x="15619" y="2809"/>
                    <a:pt x="15635" y="2828"/>
                    <a:pt x="15648" y="2849"/>
                  </a:cubicBezTo>
                  <a:cubicBezTo>
                    <a:pt x="15680" y="2900"/>
                    <a:pt x="15663" y="2977"/>
                    <a:pt x="15609" y="3030"/>
                  </a:cubicBezTo>
                  <a:cubicBezTo>
                    <a:pt x="15599" y="3040"/>
                    <a:pt x="15586" y="3048"/>
                    <a:pt x="15576" y="3058"/>
                  </a:cubicBezTo>
                  <a:cubicBezTo>
                    <a:pt x="15552" y="3081"/>
                    <a:pt x="15551" y="3097"/>
                    <a:pt x="15572" y="3123"/>
                  </a:cubicBezTo>
                  <a:cubicBezTo>
                    <a:pt x="15599" y="3156"/>
                    <a:pt x="15618" y="3155"/>
                    <a:pt x="15644" y="3120"/>
                  </a:cubicBezTo>
                  <a:cubicBezTo>
                    <a:pt x="15728" y="3008"/>
                    <a:pt x="15766" y="2878"/>
                    <a:pt x="15777" y="2743"/>
                  </a:cubicBezTo>
                  <a:cubicBezTo>
                    <a:pt x="15783" y="2671"/>
                    <a:pt x="15807" y="2613"/>
                    <a:pt x="15853" y="2565"/>
                  </a:cubicBezTo>
                  <a:cubicBezTo>
                    <a:pt x="15890" y="2526"/>
                    <a:pt x="15915" y="2484"/>
                    <a:pt x="15929" y="2432"/>
                  </a:cubicBezTo>
                  <a:cubicBezTo>
                    <a:pt x="15947" y="2367"/>
                    <a:pt x="15908" y="2287"/>
                    <a:pt x="15844" y="2267"/>
                  </a:cubicBezTo>
                  <a:cubicBezTo>
                    <a:pt x="15826" y="2262"/>
                    <a:pt x="15811" y="2265"/>
                    <a:pt x="15795" y="2273"/>
                  </a:cubicBezTo>
                  <a:cubicBezTo>
                    <a:pt x="15775" y="2284"/>
                    <a:pt x="15755" y="2294"/>
                    <a:pt x="15735" y="2307"/>
                  </a:cubicBezTo>
                  <a:cubicBezTo>
                    <a:pt x="15656" y="2357"/>
                    <a:pt x="15570" y="2356"/>
                    <a:pt x="15482" y="2337"/>
                  </a:cubicBezTo>
                  <a:cubicBezTo>
                    <a:pt x="15437" y="2327"/>
                    <a:pt x="15432" y="2309"/>
                    <a:pt x="15459" y="2273"/>
                  </a:cubicBezTo>
                  <a:cubicBezTo>
                    <a:pt x="15463" y="2268"/>
                    <a:pt x="15467" y="2263"/>
                    <a:pt x="15471" y="2258"/>
                  </a:cubicBezTo>
                  <a:cubicBezTo>
                    <a:pt x="15539" y="2171"/>
                    <a:pt x="15602" y="2154"/>
                    <a:pt x="15704" y="2197"/>
                  </a:cubicBezTo>
                  <a:cubicBezTo>
                    <a:pt x="15726" y="2206"/>
                    <a:pt x="15747" y="2222"/>
                    <a:pt x="15763" y="2192"/>
                  </a:cubicBezTo>
                  <a:cubicBezTo>
                    <a:pt x="15772" y="2174"/>
                    <a:pt x="15749" y="2150"/>
                    <a:pt x="15718" y="2144"/>
                  </a:cubicBezTo>
                  <a:cubicBezTo>
                    <a:pt x="15700" y="2140"/>
                    <a:pt x="15681" y="2141"/>
                    <a:pt x="15662" y="2140"/>
                  </a:cubicBezTo>
                  <a:cubicBezTo>
                    <a:pt x="15622" y="2138"/>
                    <a:pt x="15583" y="2138"/>
                    <a:pt x="15545" y="2123"/>
                  </a:cubicBezTo>
                  <a:cubicBezTo>
                    <a:pt x="15501" y="2105"/>
                    <a:pt x="15456" y="2111"/>
                    <a:pt x="15411" y="2127"/>
                  </a:cubicBezTo>
                  <a:cubicBezTo>
                    <a:pt x="15400" y="2132"/>
                    <a:pt x="15388" y="2141"/>
                    <a:pt x="15378" y="2126"/>
                  </a:cubicBezTo>
                  <a:cubicBezTo>
                    <a:pt x="15370" y="2115"/>
                    <a:pt x="15373" y="2101"/>
                    <a:pt x="15380" y="2091"/>
                  </a:cubicBezTo>
                  <a:cubicBezTo>
                    <a:pt x="15392" y="2069"/>
                    <a:pt x="15407" y="2049"/>
                    <a:pt x="15429" y="2036"/>
                  </a:cubicBezTo>
                  <a:cubicBezTo>
                    <a:pt x="15442" y="2028"/>
                    <a:pt x="15454" y="2020"/>
                    <a:pt x="15464" y="2010"/>
                  </a:cubicBezTo>
                  <a:cubicBezTo>
                    <a:pt x="15478" y="1997"/>
                    <a:pt x="15477" y="1983"/>
                    <a:pt x="15458" y="1977"/>
                  </a:cubicBezTo>
                  <a:cubicBezTo>
                    <a:pt x="15429" y="1968"/>
                    <a:pt x="15409" y="1947"/>
                    <a:pt x="15387" y="1927"/>
                  </a:cubicBezTo>
                  <a:cubicBezTo>
                    <a:pt x="15360" y="1902"/>
                    <a:pt x="15329" y="1880"/>
                    <a:pt x="15294" y="1866"/>
                  </a:cubicBezTo>
                  <a:cubicBezTo>
                    <a:pt x="15281" y="1861"/>
                    <a:pt x="15268" y="1853"/>
                    <a:pt x="15257" y="1843"/>
                  </a:cubicBezTo>
                  <a:cubicBezTo>
                    <a:pt x="15247" y="1833"/>
                    <a:pt x="15246" y="1816"/>
                    <a:pt x="15262" y="1813"/>
                  </a:cubicBezTo>
                  <a:cubicBezTo>
                    <a:pt x="15294" y="1806"/>
                    <a:pt x="15323" y="1785"/>
                    <a:pt x="15357" y="1785"/>
                  </a:cubicBezTo>
                  <a:cubicBezTo>
                    <a:pt x="15365" y="1785"/>
                    <a:pt x="15374" y="1786"/>
                    <a:pt x="15382" y="1784"/>
                  </a:cubicBezTo>
                  <a:cubicBezTo>
                    <a:pt x="15468" y="1765"/>
                    <a:pt x="15541" y="1781"/>
                    <a:pt x="15595" y="1858"/>
                  </a:cubicBezTo>
                  <a:cubicBezTo>
                    <a:pt x="15615" y="1885"/>
                    <a:pt x="15651" y="1894"/>
                    <a:pt x="15681" y="1909"/>
                  </a:cubicBezTo>
                  <a:cubicBezTo>
                    <a:pt x="15704" y="1920"/>
                    <a:pt x="15720" y="1908"/>
                    <a:pt x="15712" y="1884"/>
                  </a:cubicBezTo>
                  <a:cubicBezTo>
                    <a:pt x="15694" y="1829"/>
                    <a:pt x="15716" y="1776"/>
                    <a:pt x="15715" y="1722"/>
                  </a:cubicBezTo>
                  <a:cubicBezTo>
                    <a:pt x="15715" y="1697"/>
                    <a:pt x="15733" y="1685"/>
                    <a:pt x="15751" y="1697"/>
                  </a:cubicBezTo>
                  <a:cubicBezTo>
                    <a:pt x="15795" y="1725"/>
                    <a:pt x="15838" y="1756"/>
                    <a:pt x="15863" y="1803"/>
                  </a:cubicBezTo>
                  <a:cubicBezTo>
                    <a:pt x="15891" y="1856"/>
                    <a:pt x="15891" y="1911"/>
                    <a:pt x="15856" y="1963"/>
                  </a:cubicBezTo>
                  <a:cubicBezTo>
                    <a:pt x="15843" y="1982"/>
                    <a:pt x="15830" y="2001"/>
                    <a:pt x="15819" y="2021"/>
                  </a:cubicBezTo>
                  <a:cubicBezTo>
                    <a:pt x="15800" y="2054"/>
                    <a:pt x="15812" y="2085"/>
                    <a:pt x="15827" y="2116"/>
                  </a:cubicBezTo>
                  <a:cubicBezTo>
                    <a:pt x="15833" y="2128"/>
                    <a:pt x="15845" y="2134"/>
                    <a:pt x="15858" y="2132"/>
                  </a:cubicBezTo>
                  <a:cubicBezTo>
                    <a:pt x="15870" y="2130"/>
                    <a:pt x="15879" y="2122"/>
                    <a:pt x="15879" y="2111"/>
                  </a:cubicBezTo>
                  <a:cubicBezTo>
                    <a:pt x="15879" y="2046"/>
                    <a:pt x="15931" y="1999"/>
                    <a:pt x="15942" y="1937"/>
                  </a:cubicBezTo>
                  <a:cubicBezTo>
                    <a:pt x="15947" y="1911"/>
                    <a:pt x="15963" y="1910"/>
                    <a:pt x="15981" y="1930"/>
                  </a:cubicBezTo>
                  <a:cubicBezTo>
                    <a:pt x="16035" y="1995"/>
                    <a:pt x="16028" y="2114"/>
                    <a:pt x="15966" y="2174"/>
                  </a:cubicBezTo>
                  <a:cubicBezTo>
                    <a:pt x="15953" y="2186"/>
                    <a:pt x="15939" y="2197"/>
                    <a:pt x="15949" y="2215"/>
                  </a:cubicBezTo>
                  <a:cubicBezTo>
                    <a:pt x="15961" y="2237"/>
                    <a:pt x="15977" y="2258"/>
                    <a:pt x="16004" y="2261"/>
                  </a:cubicBezTo>
                  <a:cubicBezTo>
                    <a:pt x="16019" y="2262"/>
                    <a:pt x="16026" y="2251"/>
                    <a:pt x="16030" y="2238"/>
                  </a:cubicBezTo>
                  <a:cubicBezTo>
                    <a:pt x="16042" y="2198"/>
                    <a:pt x="16064" y="2162"/>
                    <a:pt x="16072" y="2121"/>
                  </a:cubicBezTo>
                  <a:cubicBezTo>
                    <a:pt x="16082" y="2072"/>
                    <a:pt x="16093" y="2023"/>
                    <a:pt x="16101" y="1974"/>
                  </a:cubicBezTo>
                  <a:cubicBezTo>
                    <a:pt x="16106" y="1939"/>
                    <a:pt x="16102" y="1905"/>
                    <a:pt x="16095" y="1870"/>
                  </a:cubicBezTo>
                  <a:cubicBezTo>
                    <a:pt x="16082" y="1803"/>
                    <a:pt x="16062" y="1738"/>
                    <a:pt x="16081" y="1667"/>
                  </a:cubicBezTo>
                  <a:cubicBezTo>
                    <a:pt x="16095" y="1611"/>
                    <a:pt x="16006" y="1536"/>
                    <a:pt x="15941" y="1548"/>
                  </a:cubicBezTo>
                  <a:cubicBezTo>
                    <a:pt x="15860" y="1563"/>
                    <a:pt x="15785" y="1547"/>
                    <a:pt x="15710" y="1520"/>
                  </a:cubicBezTo>
                  <a:cubicBezTo>
                    <a:pt x="15662" y="1504"/>
                    <a:pt x="15659" y="1485"/>
                    <a:pt x="15699" y="1452"/>
                  </a:cubicBezTo>
                  <a:cubicBezTo>
                    <a:pt x="15754" y="1407"/>
                    <a:pt x="15862" y="1370"/>
                    <a:pt x="15937" y="1445"/>
                  </a:cubicBezTo>
                  <a:cubicBezTo>
                    <a:pt x="15939" y="1446"/>
                    <a:pt x="15940" y="1447"/>
                    <a:pt x="15942" y="1449"/>
                  </a:cubicBezTo>
                  <a:cubicBezTo>
                    <a:pt x="15966" y="1463"/>
                    <a:pt x="15989" y="1499"/>
                    <a:pt x="16016" y="1476"/>
                  </a:cubicBezTo>
                  <a:cubicBezTo>
                    <a:pt x="16041" y="1455"/>
                    <a:pt x="16015" y="1421"/>
                    <a:pt x="16005" y="1396"/>
                  </a:cubicBezTo>
                  <a:cubicBezTo>
                    <a:pt x="15983" y="1339"/>
                    <a:pt x="15947" y="1323"/>
                    <a:pt x="15889" y="1339"/>
                  </a:cubicBezTo>
                  <a:cubicBezTo>
                    <a:pt x="15868" y="1345"/>
                    <a:pt x="15847" y="1347"/>
                    <a:pt x="15827" y="1343"/>
                  </a:cubicBezTo>
                  <a:cubicBezTo>
                    <a:pt x="15765" y="1333"/>
                    <a:pt x="15712" y="1354"/>
                    <a:pt x="15664" y="1389"/>
                  </a:cubicBezTo>
                  <a:cubicBezTo>
                    <a:pt x="15657" y="1394"/>
                    <a:pt x="15652" y="1400"/>
                    <a:pt x="15641" y="1400"/>
                  </a:cubicBezTo>
                  <a:cubicBezTo>
                    <a:pt x="15625" y="1396"/>
                    <a:pt x="15628" y="1381"/>
                    <a:pt x="15630" y="1370"/>
                  </a:cubicBezTo>
                  <a:cubicBezTo>
                    <a:pt x="15637" y="1296"/>
                    <a:pt x="15669" y="1239"/>
                    <a:pt x="15743" y="1214"/>
                  </a:cubicBezTo>
                  <a:cubicBezTo>
                    <a:pt x="15757" y="1209"/>
                    <a:pt x="15772" y="1207"/>
                    <a:pt x="15770" y="1188"/>
                  </a:cubicBezTo>
                  <a:cubicBezTo>
                    <a:pt x="15769" y="1167"/>
                    <a:pt x="15754" y="1160"/>
                    <a:pt x="15737" y="1156"/>
                  </a:cubicBezTo>
                  <a:cubicBezTo>
                    <a:pt x="15724" y="1153"/>
                    <a:pt x="15712" y="1158"/>
                    <a:pt x="15701" y="1163"/>
                  </a:cubicBezTo>
                  <a:cubicBezTo>
                    <a:pt x="15670" y="1176"/>
                    <a:pt x="15636" y="1178"/>
                    <a:pt x="15604" y="1183"/>
                  </a:cubicBezTo>
                  <a:cubicBezTo>
                    <a:pt x="15569" y="1188"/>
                    <a:pt x="15540" y="1184"/>
                    <a:pt x="15510" y="1160"/>
                  </a:cubicBezTo>
                  <a:cubicBezTo>
                    <a:pt x="15484" y="1138"/>
                    <a:pt x="15453" y="1119"/>
                    <a:pt x="15417" y="1111"/>
                  </a:cubicBezTo>
                  <a:cubicBezTo>
                    <a:pt x="15404" y="1108"/>
                    <a:pt x="15389" y="1098"/>
                    <a:pt x="15386" y="1083"/>
                  </a:cubicBezTo>
                  <a:cubicBezTo>
                    <a:pt x="15381" y="1065"/>
                    <a:pt x="15400" y="1058"/>
                    <a:pt x="15412" y="1054"/>
                  </a:cubicBezTo>
                  <a:cubicBezTo>
                    <a:pt x="15478" y="1028"/>
                    <a:pt x="15534" y="975"/>
                    <a:pt x="15614" y="981"/>
                  </a:cubicBezTo>
                  <a:cubicBezTo>
                    <a:pt x="15659" y="985"/>
                    <a:pt x="15694" y="995"/>
                    <a:pt x="15720" y="1033"/>
                  </a:cubicBezTo>
                  <a:cubicBezTo>
                    <a:pt x="15752" y="1079"/>
                    <a:pt x="15801" y="1104"/>
                    <a:pt x="15844" y="1136"/>
                  </a:cubicBezTo>
                  <a:cubicBezTo>
                    <a:pt x="15852" y="1142"/>
                    <a:pt x="15863" y="1148"/>
                    <a:pt x="15873" y="1140"/>
                  </a:cubicBezTo>
                  <a:cubicBezTo>
                    <a:pt x="15884" y="1132"/>
                    <a:pt x="15879" y="1121"/>
                    <a:pt x="15873" y="1112"/>
                  </a:cubicBezTo>
                  <a:cubicBezTo>
                    <a:pt x="15833" y="1051"/>
                    <a:pt x="15848" y="974"/>
                    <a:pt x="15818" y="909"/>
                  </a:cubicBezTo>
                  <a:cubicBezTo>
                    <a:pt x="15808" y="887"/>
                    <a:pt x="15826" y="872"/>
                    <a:pt x="15848" y="881"/>
                  </a:cubicBezTo>
                  <a:cubicBezTo>
                    <a:pt x="15948" y="925"/>
                    <a:pt x="16029" y="985"/>
                    <a:pt x="16050" y="1101"/>
                  </a:cubicBezTo>
                  <a:cubicBezTo>
                    <a:pt x="16056" y="1130"/>
                    <a:pt x="16058" y="1158"/>
                    <a:pt x="16039" y="1184"/>
                  </a:cubicBezTo>
                  <a:cubicBezTo>
                    <a:pt x="16014" y="1218"/>
                    <a:pt x="16015" y="1254"/>
                    <a:pt x="16031" y="1291"/>
                  </a:cubicBezTo>
                  <a:cubicBezTo>
                    <a:pt x="16047" y="1327"/>
                    <a:pt x="16064" y="1362"/>
                    <a:pt x="16080" y="1398"/>
                  </a:cubicBezTo>
                  <a:cubicBezTo>
                    <a:pt x="16085" y="1408"/>
                    <a:pt x="16090" y="1418"/>
                    <a:pt x="16102" y="1419"/>
                  </a:cubicBezTo>
                  <a:cubicBezTo>
                    <a:pt x="16117" y="1420"/>
                    <a:pt x="16125" y="1408"/>
                    <a:pt x="16127" y="1396"/>
                  </a:cubicBezTo>
                  <a:cubicBezTo>
                    <a:pt x="16139" y="1343"/>
                    <a:pt x="16171" y="1296"/>
                    <a:pt x="16167" y="1240"/>
                  </a:cubicBezTo>
                  <a:cubicBezTo>
                    <a:pt x="16166" y="1229"/>
                    <a:pt x="16169" y="1218"/>
                    <a:pt x="16181" y="1214"/>
                  </a:cubicBezTo>
                  <a:cubicBezTo>
                    <a:pt x="16193" y="1211"/>
                    <a:pt x="16200" y="1221"/>
                    <a:pt x="16204" y="1231"/>
                  </a:cubicBezTo>
                  <a:cubicBezTo>
                    <a:pt x="16222" y="1276"/>
                    <a:pt x="16258" y="1316"/>
                    <a:pt x="16253" y="1370"/>
                  </a:cubicBezTo>
                  <a:cubicBezTo>
                    <a:pt x="16247" y="1435"/>
                    <a:pt x="16225" y="1496"/>
                    <a:pt x="16186" y="1548"/>
                  </a:cubicBezTo>
                  <a:cubicBezTo>
                    <a:pt x="16165" y="1575"/>
                    <a:pt x="16157" y="1598"/>
                    <a:pt x="16163" y="1632"/>
                  </a:cubicBezTo>
                  <a:cubicBezTo>
                    <a:pt x="16171" y="1685"/>
                    <a:pt x="16159" y="1739"/>
                    <a:pt x="16169" y="1793"/>
                  </a:cubicBezTo>
                  <a:cubicBezTo>
                    <a:pt x="16174" y="1824"/>
                    <a:pt x="16179" y="1855"/>
                    <a:pt x="16192" y="1883"/>
                  </a:cubicBezTo>
                  <a:cubicBezTo>
                    <a:pt x="16202" y="1904"/>
                    <a:pt x="16217" y="1905"/>
                    <a:pt x="16230" y="1886"/>
                  </a:cubicBezTo>
                  <a:cubicBezTo>
                    <a:pt x="16255" y="1850"/>
                    <a:pt x="16272" y="1809"/>
                    <a:pt x="16285" y="1768"/>
                  </a:cubicBezTo>
                  <a:cubicBezTo>
                    <a:pt x="16307" y="1696"/>
                    <a:pt x="16344" y="1635"/>
                    <a:pt x="16394" y="1581"/>
                  </a:cubicBezTo>
                  <a:cubicBezTo>
                    <a:pt x="16443" y="1526"/>
                    <a:pt x="16480" y="1464"/>
                    <a:pt x="16504" y="1394"/>
                  </a:cubicBezTo>
                  <a:cubicBezTo>
                    <a:pt x="16526" y="1333"/>
                    <a:pt x="16514" y="1282"/>
                    <a:pt x="16463" y="1243"/>
                  </a:cubicBezTo>
                  <a:cubicBezTo>
                    <a:pt x="16388" y="1188"/>
                    <a:pt x="16351" y="1112"/>
                    <a:pt x="16326" y="1027"/>
                  </a:cubicBezTo>
                  <a:cubicBezTo>
                    <a:pt x="16316" y="993"/>
                    <a:pt x="16333" y="974"/>
                    <a:pt x="16363" y="988"/>
                  </a:cubicBezTo>
                  <a:cubicBezTo>
                    <a:pt x="16403" y="1008"/>
                    <a:pt x="16447" y="1012"/>
                    <a:pt x="16486" y="1033"/>
                  </a:cubicBezTo>
                  <a:cubicBezTo>
                    <a:pt x="16525" y="1055"/>
                    <a:pt x="16544" y="1084"/>
                    <a:pt x="16543" y="1128"/>
                  </a:cubicBezTo>
                  <a:cubicBezTo>
                    <a:pt x="16543" y="1155"/>
                    <a:pt x="16543" y="1182"/>
                    <a:pt x="16545" y="1209"/>
                  </a:cubicBezTo>
                  <a:cubicBezTo>
                    <a:pt x="16546" y="1227"/>
                    <a:pt x="16555" y="1243"/>
                    <a:pt x="16574" y="1245"/>
                  </a:cubicBezTo>
                  <a:cubicBezTo>
                    <a:pt x="16597" y="1246"/>
                    <a:pt x="16598" y="1226"/>
                    <a:pt x="16600" y="1210"/>
                  </a:cubicBezTo>
                  <a:cubicBezTo>
                    <a:pt x="16603" y="1193"/>
                    <a:pt x="16603" y="1176"/>
                    <a:pt x="16604" y="1160"/>
                  </a:cubicBezTo>
                  <a:cubicBezTo>
                    <a:pt x="16611" y="1057"/>
                    <a:pt x="16583" y="1010"/>
                    <a:pt x="16486" y="977"/>
                  </a:cubicBezTo>
                  <a:cubicBezTo>
                    <a:pt x="16425" y="956"/>
                    <a:pt x="16383" y="916"/>
                    <a:pt x="16346" y="867"/>
                  </a:cubicBezTo>
                  <a:cubicBezTo>
                    <a:pt x="16328" y="843"/>
                    <a:pt x="16338" y="821"/>
                    <a:pt x="16369" y="822"/>
                  </a:cubicBezTo>
                  <a:cubicBezTo>
                    <a:pt x="16398" y="823"/>
                    <a:pt x="16426" y="822"/>
                    <a:pt x="16455" y="815"/>
                  </a:cubicBezTo>
                  <a:cubicBezTo>
                    <a:pt x="16502" y="805"/>
                    <a:pt x="16544" y="827"/>
                    <a:pt x="16568" y="871"/>
                  </a:cubicBezTo>
                  <a:cubicBezTo>
                    <a:pt x="16581" y="897"/>
                    <a:pt x="16593" y="924"/>
                    <a:pt x="16606" y="950"/>
                  </a:cubicBezTo>
                  <a:cubicBezTo>
                    <a:pt x="16612" y="962"/>
                    <a:pt x="16624" y="968"/>
                    <a:pt x="16637" y="966"/>
                  </a:cubicBezTo>
                  <a:cubicBezTo>
                    <a:pt x="16648" y="963"/>
                    <a:pt x="16650" y="952"/>
                    <a:pt x="16653" y="941"/>
                  </a:cubicBezTo>
                  <a:cubicBezTo>
                    <a:pt x="16668" y="883"/>
                    <a:pt x="16648" y="832"/>
                    <a:pt x="16611" y="791"/>
                  </a:cubicBezTo>
                  <a:cubicBezTo>
                    <a:pt x="16564" y="739"/>
                    <a:pt x="16571" y="686"/>
                    <a:pt x="16592" y="630"/>
                  </a:cubicBezTo>
                  <a:cubicBezTo>
                    <a:pt x="16599" y="610"/>
                    <a:pt x="16611" y="593"/>
                    <a:pt x="16621" y="575"/>
                  </a:cubicBezTo>
                  <a:cubicBezTo>
                    <a:pt x="16644" y="536"/>
                    <a:pt x="16673" y="500"/>
                    <a:pt x="16677" y="452"/>
                  </a:cubicBezTo>
                  <a:cubicBezTo>
                    <a:pt x="16678" y="438"/>
                    <a:pt x="16683" y="421"/>
                    <a:pt x="16701" y="420"/>
                  </a:cubicBezTo>
                  <a:cubicBezTo>
                    <a:pt x="16718" y="419"/>
                    <a:pt x="16727" y="432"/>
                    <a:pt x="16733" y="445"/>
                  </a:cubicBezTo>
                  <a:cubicBezTo>
                    <a:pt x="16760" y="499"/>
                    <a:pt x="16789" y="552"/>
                    <a:pt x="16813" y="607"/>
                  </a:cubicBezTo>
                  <a:cubicBezTo>
                    <a:pt x="16834" y="654"/>
                    <a:pt x="16831" y="701"/>
                    <a:pt x="16790" y="739"/>
                  </a:cubicBezTo>
                  <a:cubicBezTo>
                    <a:pt x="16757" y="771"/>
                    <a:pt x="16745" y="812"/>
                    <a:pt x="16738" y="856"/>
                  </a:cubicBezTo>
                  <a:cubicBezTo>
                    <a:pt x="16736" y="869"/>
                    <a:pt x="16735" y="882"/>
                    <a:pt x="16748" y="890"/>
                  </a:cubicBezTo>
                  <a:cubicBezTo>
                    <a:pt x="16762" y="898"/>
                    <a:pt x="16772" y="889"/>
                    <a:pt x="16780" y="880"/>
                  </a:cubicBezTo>
                  <a:cubicBezTo>
                    <a:pt x="16813" y="842"/>
                    <a:pt x="16856" y="824"/>
                    <a:pt x="16901" y="807"/>
                  </a:cubicBezTo>
                  <a:cubicBezTo>
                    <a:pt x="16932" y="796"/>
                    <a:pt x="16958" y="773"/>
                    <a:pt x="16986" y="756"/>
                  </a:cubicBezTo>
                  <a:cubicBezTo>
                    <a:pt x="16997" y="749"/>
                    <a:pt x="17009" y="744"/>
                    <a:pt x="17021" y="753"/>
                  </a:cubicBezTo>
                  <a:cubicBezTo>
                    <a:pt x="17030" y="761"/>
                    <a:pt x="17028" y="771"/>
                    <a:pt x="17026" y="782"/>
                  </a:cubicBezTo>
                  <a:cubicBezTo>
                    <a:pt x="17023" y="798"/>
                    <a:pt x="17017" y="815"/>
                    <a:pt x="17019" y="831"/>
                  </a:cubicBezTo>
                  <a:cubicBezTo>
                    <a:pt x="17031" y="928"/>
                    <a:pt x="16968" y="975"/>
                    <a:pt x="16895" y="1012"/>
                  </a:cubicBezTo>
                  <a:cubicBezTo>
                    <a:pt x="16855" y="1032"/>
                    <a:pt x="16813" y="1039"/>
                    <a:pt x="16767" y="1029"/>
                  </a:cubicBezTo>
                  <a:cubicBezTo>
                    <a:pt x="16709" y="1015"/>
                    <a:pt x="16702" y="1022"/>
                    <a:pt x="16689" y="1084"/>
                  </a:cubicBezTo>
                  <a:cubicBezTo>
                    <a:pt x="16686" y="1100"/>
                    <a:pt x="16682" y="1116"/>
                    <a:pt x="16680" y="1133"/>
                  </a:cubicBezTo>
                  <a:cubicBezTo>
                    <a:pt x="16673" y="1178"/>
                    <a:pt x="16682" y="1225"/>
                    <a:pt x="16660" y="1267"/>
                  </a:cubicBezTo>
                  <a:cubicBezTo>
                    <a:pt x="16655" y="1276"/>
                    <a:pt x="16657" y="1288"/>
                    <a:pt x="16665" y="1296"/>
                  </a:cubicBezTo>
                  <a:cubicBezTo>
                    <a:pt x="16676" y="1307"/>
                    <a:pt x="16689" y="1303"/>
                    <a:pt x="16700" y="1297"/>
                  </a:cubicBezTo>
                  <a:cubicBezTo>
                    <a:pt x="16712" y="1289"/>
                    <a:pt x="16722" y="1279"/>
                    <a:pt x="16733" y="1269"/>
                  </a:cubicBezTo>
                  <a:cubicBezTo>
                    <a:pt x="16749" y="1255"/>
                    <a:pt x="16763" y="1241"/>
                    <a:pt x="16779" y="1227"/>
                  </a:cubicBezTo>
                  <a:cubicBezTo>
                    <a:pt x="16828" y="1188"/>
                    <a:pt x="16878" y="1168"/>
                    <a:pt x="16938" y="1209"/>
                  </a:cubicBezTo>
                  <a:cubicBezTo>
                    <a:pt x="16965" y="1227"/>
                    <a:pt x="16997" y="1236"/>
                    <a:pt x="17031" y="1241"/>
                  </a:cubicBezTo>
                  <a:cubicBezTo>
                    <a:pt x="17074" y="1248"/>
                    <a:pt x="17085" y="1277"/>
                    <a:pt x="17052" y="1298"/>
                  </a:cubicBezTo>
                  <a:cubicBezTo>
                    <a:pt x="16990" y="1337"/>
                    <a:pt x="16986" y="1377"/>
                    <a:pt x="17026" y="1434"/>
                  </a:cubicBezTo>
                  <a:cubicBezTo>
                    <a:pt x="17042" y="1457"/>
                    <a:pt x="17030" y="1487"/>
                    <a:pt x="17018" y="1512"/>
                  </a:cubicBezTo>
                  <a:cubicBezTo>
                    <a:pt x="17014" y="1521"/>
                    <a:pt x="17007" y="1529"/>
                    <a:pt x="17001" y="1538"/>
                  </a:cubicBezTo>
                  <a:cubicBezTo>
                    <a:pt x="16992" y="1552"/>
                    <a:pt x="16982" y="1568"/>
                    <a:pt x="16994" y="1583"/>
                  </a:cubicBezTo>
                  <a:cubicBezTo>
                    <a:pt x="17008" y="1601"/>
                    <a:pt x="17029" y="1607"/>
                    <a:pt x="17050" y="1599"/>
                  </a:cubicBezTo>
                  <a:cubicBezTo>
                    <a:pt x="17075" y="1590"/>
                    <a:pt x="17101" y="1580"/>
                    <a:pt x="17124" y="1567"/>
                  </a:cubicBezTo>
                  <a:cubicBezTo>
                    <a:pt x="17199" y="1524"/>
                    <a:pt x="17294" y="1530"/>
                    <a:pt x="17357" y="1585"/>
                  </a:cubicBezTo>
                  <a:cubicBezTo>
                    <a:pt x="17375" y="1600"/>
                    <a:pt x="17375" y="1618"/>
                    <a:pt x="17363" y="1634"/>
                  </a:cubicBezTo>
                  <a:cubicBezTo>
                    <a:pt x="17341" y="1662"/>
                    <a:pt x="17319" y="1691"/>
                    <a:pt x="17293" y="1714"/>
                  </a:cubicBezTo>
                  <a:cubicBezTo>
                    <a:pt x="17269" y="1737"/>
                    <a:pt x="17240" y="1749"/>
                    <a:pt x="17202" y="1740"/>
                  </a:cubicBezTo>
                  <a:cubicBezTo>
                    <a:pt x="17165" y="1731"/>
                    <a:pt x="17129" y="1723"/>
                    <a:pt x="17098" y="1701"/>
                  </a:cubicBezTo>
                  <a:cubicBezTo>
                    <a:pt x="17077" y="1686"/>
                    <a:pt x="17052" y="1682"/>
                    <a:pt x="17028" y="1674"/>
                  </a:cubicBezTo>
                  <a:cubicBezTo>
                    <a:pt x="17020" y="1671"/>
                    <a:pt x="17011" y="1673"/>
                    <a:pt x="17006" y="1680"/>
                  </a:cubicBezTo>
                  <a:cubicBezTo>
                    <a:pt x="17002" y="1688"/>
                    <a:pt x="17003" y="1697"/>
                    <a:pt x="17008" y="1704"/>
                  </a:cubicBezTo>
                  <a:cubicBezTo>
                    <a:pt x="17012" y="1711"/>
                    <a:pt x="17017" y="1717"/>
                    <a:pt x="17024" y="1723"/>
                  </a:cubicBezTo>
                  <a:cubicBezTo>
                    <a:pt x="17064" y="1755"/>
                    <a:pt x="17091" y="1801"/>
                    <a:pt x="17134" y="1833"/>
                  </a:cubicBezTo>
                  <a:cubicBezTo>
                    <a:pt x="17158" y="1851"/>
                    <a:pt x="17153" y="1865"/>
                    <a:pt x="17123" y="1874"/>
                  </a:cubicBezTo>
                  <a:cubicBezTo>
                    <a:pt x="17037" y="1901"/>
                    <a:pt x="16950" y="1859"/>
                    <a:pt x="16916" y="1774"/>
                  </a:cubicBezTo>
                  <a:cubicBezTo>
                    <a:pt x="16899" y="1730"/>
                    <a:pt x="16884" y="1724"/>
                    <a:pt x="16849" y="1750"/>
                  </a:cubicBezTo>
                  <a:cubicBezTo>
                    <a:pt x="16830" y="1763"/>
                    <a:pt x="16812" y="1776"/>
                    <a:pt x="16791" y="1786"/>
                  </a:cubicBezTo>
                  <a:cubicBezTo>
                    <a:pt x="16760" y="1802"/>
                    <a:pt x="16761" y="1822"/>
                    <a:pt x="16791" y="1839"/>
                  </a:cubicBezTo>
                  <a:cubicBezTo>
                    <a:pt x="16853" y="1875"/>
                    <a:pt x="16896" y="1927"/>
                    <a:pt x="16922" y="1993"/>
                  </a:cubicBezTo>
                  <a:cubicBezTo>
                    <a:pt x="16935" y="2025"/>
                    <a:pt x="16929" y="2038"/>
                    <a:pt x="16898" y="2038"/>
                  </a:cubicBezTo>
                  <a:cubicBezTo>
                    <a:pt x="16854" y="2037"/>
                    <a:pt x="16810" y="2037"/>
                    <a:pt x="16768" y="2024"/>
                  </a:cubicBezTo>
                  <a:cubicBezTo>
                    <a:pt x="16730" y="2013"/>
                    <a:pt x="16705" y="1988"/>
                    <a:pt x="16690" y="1950"/>
                  </a:cubicBezTo>
                  <a:cubicBezTo>
                    <a:pt x="16675" y="1912"/>
                    <a:pt x="16659" y="1906"/>
                    <a:pt x="16624" y="1928"/>
                  </a:cubicBezTo>
                  <a:cubicBezTo>
                    <a:pt x="16548" y="1978"/>
                    <a:pt x="16464" y="2007"/>
                    <a:pt x="16376" y="2023"/>
                  </a:cubicBezTo>
                  <a:cubicBezTo>
                    <a:pt x="16268" y="2043"/>
                    <a:pt x="16204" y="2112"/>
                    <a:pt x="16160" y="2208"/>
                  </a:cubicBezTo>
                  <a:cubicBezTo>
                    <a:pt x="16129" y="2275"/>
                    <a:pt x="16116" y="2347"/>
                    <a:pt x="16086" y="2413"/>
                  </a:cubicBezTo>
                  <a:cubicBezTo>
                    <a:pt x="16054" y="2486"/>
                    <a:pt x="16021" y="2557"/>
                    <a:pt x="15975" y="2622"/>
                  </a:cubicBezTo>
                  <a:cubicBezTo>
                    <a:pt x="15918" y="2702"/>
                    <a:pt x="15902" y="2797"/>
                    <a:pt x="15874" y="2888"/>
                  </a:cubicBezTo>
                  <a:cubicBezTo>
                    <a:pt x="15869" y="2902"/>
                    <a:pt x="15867" y="2918"/>
                    <a:pt x="15884" y="2927"/>
                  </a:cubicBezTo>
                  <a:cubicBezTo>
                    <a:pt x="15901" y="2935"/>
                    <a:pt x="15911" y="2923"/>
                    <a:pt x="15919" y="2910"/>
                  </a:cubicBezTo>
                  <a:cubicBezTo>
                    <a:pt x="15950" y="2861"/>
                    <a:pt x="16000" y="2834"/>
                    <a:pt x="16044" y="2799"/>
                  </a:cubicBezTo>
                  <a:cubicBezTo>
                    <a:pt x="16054" y="2792"/>
                    <a:pt x="16066" y="2785"/>
                    <a:pt x="16077" y="2783"/>
                  </a:cubicBezTo>
                  <a:cubicBezTo>
                    <a:pt x="16142" y="2775"/>
                    <a:pt x="16200" y="2742"/>
                    <a:pt x="16265" y="2737"/>
                  </a:cubicBezTo>
                  <a:cubicBezTo>
                    <a:pt x="16332" y="2731"/>
                    <a:pt x="16394" y="2705"/>
                    <a:pt x="16458" y="2689"/>
                  </a:cubicBezTo>
                  <a:cubicBezTo>
                    <a:pt x="16511" y="2675"/>
                    <a:pt x="16548" y="2630"/>
                    <a:pt x="16593" y="2601"/>
                  </a:cubicBezTo>
                  <a:cubicBezTo>
                    <a:pt x="16626" y="2579"/>
                    <a:pt x="16653" y="2550"/>
                    <a:pt x="16689" y="2531"/>
                  </a:cubicBezTo>
                  <a:cubicBezTo>
                    <a:pt x="16711" y="2520"/>
                    <a:pt x="16714" y="2503"/>
                    <a:pt x="16710" y="2479"/>
                  </a:cubicBezTo>
                  <a:cubicBezTo>
                    <a:pt x="16695" y="2404"/>
                    <a:pt x="16615" y="2354"/>
                    <a:pt x="16544" y="2379"/>
                  </a:cubicBezTo>
                  <a:cubicBezTo>
                    <a:pt x="16530" y="2384"/>
                    <a:pt x="16521" y="2396"/>
                    <a:pt x="16511" y="2407"/>
                  </a:cubicBezTo>
                  <a:cubicBezTo>
                    <a:pt x="16482" y="2437"/>
                    <a:pt x="16454" y="2467"/>
                    <a:pt x="16424" y="2496"/>
                  </a:cubicBezTo>
                  <a:cubicBezTo>
                    <a:pt x="16381" y="2538"/>
                    <a:pt x="16329" y="2545"/>
                    <a:pt x="16273" y="2531"/>
                  </a:cubicBezTo>
                  <a:cubicBezTo>
                    <a:pt x="16250" y="2526"/>
                    <a:pt x="16240" y="2513"/>
                    <a:pt x="16249" y="2485"/>
                  </a:cubicBezTo>
                  <a:cubicBezTo>
                    <a:pt x="16266" y="2428"/>
                    <a:pt x="16293" y="2383"/>
                    <a:pt x="16357" y="2369"/>
                  </a:cubicBezTo>
                  <a:cubicBezTo>
                    <a:pt x="16377" y="2365"/>
                    <a:pt x="16396" y="2357"/>
                    <a:pt x="16416" y="2351"/>
                  </a:cubicBezTo>
                  <a:cubicBezTo>
                    <a:pt x="16426" y="2348"/>
                    <a:pt x="16438" y="2346"/>
                    <a:pt x="16440" y="2333"/>
                  </a:cubicBezTo>
                  <a:cubicBezTo>
                    <a:pt x="16442" y="2320"/>
                    <a:pt x="16434" y="2310"/>
                    <a:pt x="16424" y="2302"/>
                  </a:cubicBezTo>
                  <a:cubicBezTo>
                    <a:pt x="16409" y="2289"/>
                    <a:pt x="16389" y="2288"/>
                    <a:pt x="16371" y="2287"/>
                  </a:cubicBezTo>
                  <a:cubicBezTo>
                    <a:pt x="16313" y="2284"/>
                    <a:pt x="16275" y="2250"/>
                    <a:pt x="16244" y="2206"/>
                  </a:cubicBezTo>
                  <a:cubicBezTo>
                    <a:pt x="16226" y="2181"/>
                    <a:pt x="16232" y="2164"/>
                    <a:pt x="16260" y="2153"/>
                  </a:cubicBezTo>
                  <a:cubicBezTo>
                    <a:pt x="16319" y="2130"/>
                    <a:pt x="16393" y="2148"/>
                    <a:pt x="16438" y="2195"/>
                  </a:cubicBezTo>
                  <a:cubicBezTo>
                    <a:pt x="16455" y="2213"/>
                    <a:pt x="16472" y="2231"/>
                    <a:pt x="16490" y="2248"/>
                  </a:cubicBezTo>
                  <a:cubicBezTo>
                    <a:pt x="16502" y="2260"/>
                    <a:pt x="16516" y="2268"/>
                    <a:pt x="16533" y="2272"/>
                  </a:cubicBezTo>
                  <a:cubicBezTo>
                    <a:pt x="16544" y="2274"/>
                    <a:pt x="16554" y="2276"/>
                    <a:pt x="16562" y="2267"/>
                  </a:cubicBezTo>
                  <a:cubicBezTo>
                    <a:pt x="16570" y="2257"/>
                    <a:pt x="16569" y="2247"/>
                    <a:pt x="16562" y="2238"/>
                  </a:cubicBezTo>
                  <a:cubicBezTo>
                    <a:pt x="16525" y="2187"/>
                    <a:pt x="16526" y="2129"/>
                    <a:pt x="16532" y="2071"/>
                  </a:cubicBezTo>
                  <a:cubicBezTo>
                    <a:pt x="16537" y="2028"/>
                    <a:pt x="16554" y="2020"/>
                    <a:pt x="16590" y="2042"/>
                  </a:cubicBezTo>
                  <a:cubicBezTo>
                    <a:pt x="16614" y="2058"/>
                    <a:pt x="16634" y="2079"/>
                    <a:pt x="16652" y="2102"/>
                  </a:cubicBezTo>
                  <a:cubicBezTo>
                    <a:pt x="16671" y="2126"/>
                    <a:pt x="16680" y="2153"/>
                    <a:pt x="16668" y="2184"/>
                  </a:cubicBezTo>
                  <a:cubicBezTo>
                    <a:pt x="16660" y="2203"/>
                    <a:pt x="16656" y="2224"/>
                    <a:pt x="16649" y="2244"/>
                  </a:cubicBezTo>
                  <a:cubicBezTo>
                    <a:pt x="16636" y="2287"/>
                    <a:pt x="16639" y="2304"/>
                    <a:pt x="16677" y="2319"/>
                  </a:cubicBezTo>
                  <a:cubicBezTo>
                    <a:pt x="16732" y="2341"/>
                    <a:pt x="16766" y="2378"/>
                    <a:pt x="16785" y="2432"/>
                  </a:cubicBezTo>
                  <a:cubicBezTo>
                    <a:pt x="16795" y="2462"/>
                    <a:pt x="16814" y="2472"/>
                    <a:pt x="16847" y="2469"/>
                  </a:cubicBezTo>
                  <a:cubicBezTo>
                    <a:pt x="16894" y="2466"/>
                    <a:pt x="16937" y="2451"/>
                    <a:pt x="16980" y="2439"/>
                  </a:cubicBezTo>
                  <a:cubicBezTo>
                    <a:pt x="17068" y="2416"/>
                    <a:pt x="17156" y="2391"/>
                    <a:pt x="17238" y="2349"/>
                  </a:cubicBezTo>
                  <a:cubicBezTo>
                    <a:pt x="17288" y="2324"/>
                    <a:pt x="17331" y="2290"/>
                    <a:pt x="17365" y="2250"/>
                  </a:cubicBezTo>
                  <a:cubicBezTo>
                    <a:pt x="17428" y="2178"/>
                    <a:pt x="17495" y="2110"/>
                    <a:pt x="17561" y="2041"/>
                  </a:cubicBezTo>
                  <a:cubicBezTo>
                    <a:pt x="17590" y="2010"/>
                    <a:pt x="17587" y="1967"/>
                    <a:pt x="17569" y="1942"/>
                  </a:cubicBezTo>
                  <a:cubicBezTo>
                    <a:pt x="17512" y="1862"/>
                    <a:pt x="17525" y="1789"/>
                    <a:pt x="17567" y="1710"/>
                  </a:cubicBezTo>
                  <a:cubicBezTo>
                    <a:pt x="17578" y="1687"/>
                    <a:pt x="17578" y="1658"/>
                    <a:pt x="17597" y="1636"/>
                  </a:cubicBezTo>
                  <a:cubicBezTo>
                    <a:pt x="17634" y="1593"/>
                    <a:pt x="17650" y="1595"/>
                    <a:pt x="17675" y="1648"/>
                  </a:cubicBezTo>
                  <a:cubicBezTo>
                    <a:pt x="17710" y="1720"/>
                    <a:pt x="17722" y="1793"/>
                    <a:pt x="17687" y="1870"/>
                  </a:cubicBezTo>
                  <a:cubicBezTo>
                    <a:pt x="17679" y="1887"/>
                    <a:pt x="17677" y="1906"/>
                    <a:pt x="17668" y="1922"/>
                  </a:cubicBezTo>
                  <a:cubicBezTo>
                    <a:pt x="17662" y="1933"/>
                    <a:pt x="17660" y="1947"/>
                    <a:pt x="17672" y="1956"/>
                  </a:cubicBezTo>
                  <a:cubicBezTo>
                    <a:pt x="17682" y="1963"/>
                    <a:pt x="17693" y="1958"/>
                    <a:pt x="17701" y="1953"/>
                  </a:cubicBezTo>
                  <a:cubicBezTo>
                    <a:pt x="17730" y="1935"/>
                    <a:pt x="17760" y="1922"/>
                    <a:pt x="17795" y="1922"/>
                  </a:cubicBezTo>
                  <a:cubicBezTo>
                    <a:pt x="17816" y="1922"/>
                    <a:pt x="17827" y="1906"/>
                    <a:pt x="17834" y="1887"/>
                  </a:cubicBezTo>
                  <a:cubicBezTo>
                    <a:pt x="17841" y="1863"/>
                    <a:pt x="17850" y="1840"/>
                    <a:pt x="17856" y="1816"/>
                  </a:cubicBezTo>
                  <a:cubicBezTo>
                    <a:pt x="17872" y="1758"/>
                    <a:pt x="17911" y="1720"/>
                    <a:pt x="17960" y="1690"/>
                  </a:cubicBezTo>
                  <a:cubicBezTo>
                    <a:pt x="17996" y="1669"/>
                    <a:pt x="18031" y="1646"/>
                    <a:pt x="18072" y="1635"/>
                  </a:cubicBezTo>
                  <a:cubicBezTo>
                    <a:pt x="18109" y="1624"/>
                    <a:pt x="18126" y="1636"/>
                    <a:pt x="18113" y="1673"/>
                  </a:cubicBezTo>
                  <a:cubicBezTo>
                    <a:pt x="18087" y="1744"/>
                    <a:pt x="18071" y="1824"/>
                    <a:pt x="17991" y="1860"/>
                  </a:cubicBezTo>
                  <a:cubicBezTo>
                    <a:pt x="17975" y="1867"/>
                    <a:pt x="17961" y="1876"/>
                    <a:pt x="17965" y="1897"/>
                  </a:cubicBezTo>
                  <a:cubicBezTo>
                    <a:pt x="17969" y="1922"/>
                    <a:pt x="17990" y="1919"/>
                    <a:pt x="18009" y="1921"/>
                  </a:cubicBezTo>
                  <a:cubicBezTo>
                    <a:pt x="18055" y="1927"/>
                    <a:pt x="18090" y="1912"/>
                    <a:pt x="18113" y="1871"/>
                  </a:cubicBezTo>
                  <a:cubicBezTo>
                    <a:pt x="18121" y="1859"/>
                    <a:pt x="18130" y="1847"/>
                    <a:pt x="18144" y="1841"/>
                  </a:cubicBezTo>
                  <a:cubicBezTo>
                    <a:pt x="18231" y="1798"/>
                    <a:pt x="18322" y="1772"/>
                    <a:pt x="18419" y="1770"/>
                  </a:cubicBezTo>
                  <a:cubicBezTo>
                    <a:pt x="18437" y="1769"/>
                    <a:pt x="18453" y="1770"/>
                    <a:pt x="18462" y="1788"/>
                  </a:cubicBezTo>
                  <a:cubicBezTo>
                    <a:pt x="18469" y="1804"/>
                    <a:pt x="18460" y="1817"/>
                    <a:pt x="18450" y="1827"/>
                  </a:cubicBezTo>
                  <a:cubicBezTo>
                    <a:pt x="18410" y="1869"/>
                    <a:pt x="18382" y="1924"/>
                    <a:pt x="18319" y="1938"/>
                  </a:cubicBezTo>
                  <a:cubicBezTo>
                    <a:pt x="18301" y="1943"/>
                    <a:pt x="18282" y="1945"/>
                    <a:pt x="18264" y="1949"/>
                  </a:cubicBezTo>
                  <a:cubicBezTo>
                    <a:pt x="18239" y="1956"/>
                    <a:pt x="18234" y="1977"/>
                    <a:pt x="18251" y="1995"/>
                  </a:cubicBezTo>
                  <a:cubicBezTo>
                    <a:pt x="18264" y="2008"/>
                    <a:pt x="18279" y="2013"/>
                    <a:pt x="18296" y="2013"/>
                  </a:cubicBezTo>
                  <a:cubicBezTo>
                    <a:pt x="18326" y="2013"/>
                    <a:pt x="18355" y="2017"/>
                    <a:pt x="18384" y="2013"/>
                  </a:cubicBezTo>
                  <a:cubicBezTo>
                    <a:pt x="18420" y="2007"/>
                    <a:pt x="18447" y="2020"/>
                    <a:pt x="18475" y="2042"/>
                  </a:cubicBezTo>
                  <a:cubicBezTo>
                    <a:pt x="18521" y="2078"/>
                    <a:pt x="18553" y="2128"/>
                    <a:pt x="18596" y="2167"/>
                  </a:cubicBezTo>
                  <a:cubicBezTo>
                    <a:pt x="18602" y="2173"/>
                    <a:pt x="18606" y="2181"/>
                    <a:pt x="18609" y="2188"/>
                  </a:cubicBezTo>
                  <a:cubicBezTo>
                    <a:pt x="18621" y="2213"/>
                    <a:pt x="18614" y="2232"/>
                    <a:pt x="18587" y="2233"/>
                  </a:cubicBezTo>
                  <a:cubicBezTo>
                    <a:pt x="18512" y="2235"/>
                    <a:pt x="18436" y="2242"/>
                    <a:pt x="18364" y="2220"/>
                  </a:cubicBezTo>
                  <a:cubicBezTo>
                    <a:pt x="18317" y="2207"/>
                    <a:pt x="18283" y="2169"/>
                    <a:pt x="18262" y="2124"/>
                  </a:cubicBezTo>
                  <a:cubicBezTo>
                    <a:pt x="18252" y="2101"/>
                    <a:pt x="18239" y="2080"/>
                    <a:pt x="18222" y="2062"/>
                  </a:cubicBezTo>
                  <a:cubicBezTo>
                    <a:pt x="18213" y="2053"/>
                    <a:pt x="18200" y="2047"/>
                    <a:pt x="18188" y="2056"/>
                  </a:cubicBezTo>
                  <a:cubicBezTo>
                    <a:pt x="18178" y="2063"/>
                    <a:pt x="18177" y="2075"/>
                    <a:pt x="18184" y="2084"/>
                  </a:cubicBezTo>
                  <a:cubicBezTo>
                    <a:pt x="18226" y="2141"/>
                    <a:pt x="18211" y="2218"/>
                    <a:pt x="18254" y="2275"/>
                  </a:cubicBezTo>
                  <a:cubicBezTo>
                    <a:pt x="18260" y="2283"/>
                    <a:pt x="18259" y="2295"/>
                    <a:pt x="18251" y="2304"/>
                  </a:cubicBezTo>
                  <a:cubicBezTo>
                    <a:pt x="18242" y="2314"/>
                    <a:pt x="18232" y="2310"/>
                    <a:pt x="18223" y="2306"/>
                  </a:cubicBezTo>
                  <a:cubicBezTo>
                    <a:pt x="18192" y="2294"/>
                    <a:pt x="18160" y="2283"/>
                    <a:pt x="18130" y="2269"/>
                  </a:cubicBezTo>
                  <a:cubicBezTo>
                    <a:pt x="18086" y="2248"/>
                    <a:pt x="18066" y="2209"/>
                    <a:pt x="18064" y="2163"/>
                  </a:cubicBezTo>
                  <a:cubicBezTo>
                    <a:pt x="18062" y="2130"/>
                    <a:pt x="18065" y="2098"/>
                    <a:pt x="18078" y="2065"/>
                  </a:cubicBezTo>
                  <a:cubicBezTo>
                    <a:pt x="18095" y="2020"/>
                    <a:pt x="18088" y="2011"/>
                    <a:pt x="18042" y="2002"/>
                  </a:cubicBezTo>
                  <a:cubicBezTo>
                    <a:pt x="18031" y="2000"/>
                    <a:pt x="18021" y="1997"/>
                    <a:pt x="18011" y="1997"/>
                  </a:cubicBezTo>
                  <a:cubicBezTo>
                    <a:pt x="17990" y="1997"/>
                    <a:pt x="17975" y="2008"/>
                    <a:pt x="17986" y="2027"/>
                  </a:cubicBezTo>
                  <a:cubicBezTo>
                    <a:pt x="18018" y="2083"/>
                    <a:pt x="17995" y="2147"/>
                    <a:pt x="18018" y="2204"/>
                  </a:cubicBezTo>
                  <a:cubicBezTo>
                    <a:pt x="18028" y="2227"/>
                    <a:pt x="18010" y="2238"/>
                    <a:pt x="17985" y="2225"/>
                  </a:cubicBezTo>
                  <a:cubicBezTo>
                    <a:pt x="17921" y="2191"/>
                    <a:pt x="17874" y="2145"/>
                    <a:pt x="17877" y="2065"/>
                  </a:cubicBezTo>
                  <a:cubicBezTo>
                    <a:pt x="17878" y="2043"/>
                    <a:pt x="17886" y="2017"/>
                    <a:pt x="17856" y="2006"/>
                  </a:cubicBezTo>
                  <a:cubicBezTo>
                    <a:pt x="17834" y="1997"/>
                    <a:pt x="17781" y="2015"/>
                    <a:pt x="17765" y="2036"/>
                  </a:cubicBezTo>
                  <a:cubicBezTo>
                    <a:pt x="17753" y="2051"/>
                    <a:pt x="17758" y="2066"/>
                    <a:pt x="17769" y="2075"/>
                  </a:cubicBezTo>
                  <a:cubicBezTo>
                    <a:pt x="17810" y="2115"/>
                    <a:pt x="17826" y="2166"/>
                    <a:pt x="17841" y="2218"/>
                  </a:cubicBezTo>
                  <a:cubicBezTo>
                    <a:pt x="17853" y="2259"/>
                    <a:pt x="17878" y="2292"/>
                    <a:pt x="17908" y="2322"/>
                  </a:cubicBezTo>
                  <a:cubicBezTo>
                    <a:pt x="17915" y="2330"/>
                    <a:pt x="17920" y="2340"/>
                    <a:pt x="17913" y="2350"/>
                  </a:cubicBezTo>
                  <a:cubicBezTo>
                    <a:pt x="17906" y="2361"/>
                    <a:pt x="17896" y="2357"/>
                    <a:pt x="17886" y="2354"/>
                  </a:cubicBezTo>
                  <a:cubicBezTo>
                    <a:pt x="17850" y="2344"/>
                    <a:pt x="17814" y="2332"/>
                    <a:pt x="17777" y="2325"/>
                  </a:cubicBezTo>
                  <a:cubicBezTo>
                    <a:pt x="17736" y="2318"/>
                    <a:pt x="17717" y="2292"/>
                    <a:pt x="17710" y="2254"/>
                  </a:cubicBezTo>
                  <a:cubicBezTo>
                    <a:pt x="17703" y="2213"/>
                    <a:pt x="17698" y="2171"/>
                    <a:pt x="17691" y="2130"/>
                  </a:cubicBezTo>
                  <a:cubicBezTo>
                    <a:pt x="17685" y="2096"/>
                    <a:pt x="17674" y="2091"/>
                    <a:pt x="17646" y="2113"/>
                  </a:cubicBezTo>
                  <a:cubicBezTo>
                    <a:pt x="17584" y="2161"/>
                    <a:pt x="17524" y="2213"/>
                    <a:pt x="17477" y="2278"/>
                  </a:cubicBezTo>
                  <a:cubicBezTo>
                    <a:pt x="17464" y="2296"/>
                    <a:pt x="17447" y="2312"/>
                    <a:pt x="17433" y="2330"/>
                  </a:cubicBezTo>
                  <a:cubicBezTo>
                    <a:pt x="17423" y="2342"/>
                    <a:pt x="17417" y="2355"/>
                    <a:pt x="17425" y="2370"/>
                  </a:cubicBezTo>
                  <a:cubicBezTo>
                    <a:pt x="17432" y="2382"/>
                    <a:pt x="17445" y="2386"/>
                    <a:pt x="17458" y="2383"/>
                  </a:cubicBezTo>
                  <a:cubicBezTo>
                    <a:pt x="17560" y="2362"/>
                    <a:pt x="17637" y="2417"/>
                    <a:pt x="17715" y="2469"/>
                  </a:cubicBezTo>
                  <a:cubicBezTo>
                    <a:pt x="17762" y="2501"/>
                    <a:pt x="17809" y="2531"/>
                    <a:pt x="17859" y="2556"/>
                  </a:cubicBezTo>
                  <a:cubicBezTo>
                    <a:pt x="17916" y="2585"/>
                    <a:pt x="17964" y="2630"/>
                    <a:pt x="18022" y="2659"/>
                  </a:cubicBezTo>
                  <a:cubicBezTo>
                    <a:pt x="18036" y="2666"/>
                    <a:pt x="18049" y="2678"/>
                    <a:pt x="18065" y="2682"/>
                  </a:cubicBezTo>
                  <a:cubicBezTo>
                    <a:pt x="18124" y="2697"/>
                    <a:pt x="18183" y="2709"/>
                    <a:pt x="18240" y="2726"/>
                  </a:cubicBezTo>
                  <a:cubicBezTo>
                    <a:pt x="18285" y="2739"/>
                    <a:pt x="18321" y="2731"/>
                    <a:pt x="18343" y="2692"/>
                  </a:cubicBezTo>
                  <a:cubicBezTo>
                    <a:pt x="18390" y="2609"/>
                    <a:pt x="18476" y="2576"/>
                    <a:pt x="18548" y="2525"/>
                  </a:cubicBezTo>
                  <a:cubicBezTo>
                    <a:pt x="18563" y="2514"/>
                    <a:pt x="18579" y="2504"/>
                    <a:pt x="18595" y="2495"/>
                  </a:cubicBezTo>
                  <a:cubicBezTo>
                    <a:pt x="18609" y="2487"/>
                    <a:pt x="18620" y="2493"/>
                    <a:pt x="18623" y="2508"/>
                  </a:cubicBezTo>
                  <a:cubicBezTo>
                    <a:pt x="18638" y="2604"/>
                    <a:pt x="18605" y="2715"/>
                    <a:pt x="18493" y="2737"/>
                  </a:cubicBezTo>
                  <a:cubicBezTo>
                    <a:pt x="18477" y="2740"/>
                    <a:pt x="18460" y="2743"/>
                    <a:pt x="18444" y="2747"/>
                  </a:cubicBezTo>
                  <a:cubicBezTo>
                    <a:pt x="18431" y="2750"/>
                    <a:pt x="18420" y="2757"/>
                    <a:pt x="18420" y="2771"/>
                  </a:cubicBezTo>
                  <a:cubicBezTo>
                    <a:pt x="18420" y="2785"/>
                    <a:pt x="18431" y="2793"/>
                    <a:pt x="18443" y="2798"/>
                  </a:cubicBezTo>
                  <a:cubicBezTo>
                    <a:pt x="18529" y="2839"/>
                    <a:pt x="18600" y="2809"/>
                    <a:pt x="18632" y="2749"/>
                  </a:cubicBezTo>
                  <a:cubicBezTo>
                    <a:pt x="18660" y="2697"/>
                    <a:pt x="18704" y="2670"/>
                    <a:pt x="18764" y="2670"/>
                  </a:cubicBezTo>
                  <a:cubicBezTo>
                    <a:pt x="18793" y="2670"/>
                    <a:pt x="18821" y="2664"/>
                    <a:pt x="18847" y="2649"/>
                  </a:cubicBezTo>
                  <a:cubicBezTo>
                    <a:pt x="18858" y="2642"/>
                    <a:pt x="18870" y="2638"/>
                    <a:pt x="18882" y="2635"/>
                  </a:cubicBezTo>
                  <a:cubicBezTo>
                    <a:pt x="18896" y="2632"/>
                    <a:pt x="18912" y="2624"/>
                    <a:pt x="18923" y="2639"/>
                  </a:cubicBezTo>
                  <a:cubicBezTo>
                    <a:pt x="18931" y="2650"/>
                    <a:pt x="18922" y="2663"/>
                    <a:pt x="18917" y="2674"/>
                  </a:cubicBezTo>
                  <a:cubicBezTo>
                    <a:pt x="18904" y="2706"/>
                    <a:pt x="18893" y="2741"/>
                    <a:pt x="18874" y="2770"/>
                  </a:cubicBezTo>
                  <a:cubicBezTo>
                    <a:pt x="18846" y="2813"/>
                    <a:pt x="18810" y="2845"/>
                    <a:pt x="18751" y="2838"/>
                  </a:cubicBezTo>
                  <a:cubicBezTo>
                    <a:pt x="18727" y="2836"/>
                    <a:pt x="18702" y="2827"/>
                    <a:pt x="18677" y="2836"/>
                  </a:cubicBezTo>
                  <a:cubicBezTo>
                    <a:pt x="18665" y="2841"/>
                    <a:pt x="18653" y="2845"/>
                    <a:pt x="18652" y="2860"/>
                  </a:cubicBezTo>
                  <a:cubicBezTo>
                    <a:pt x="18651" y="2874"/>
                    <a:pt x="18655" y="2889"/>
                    <a:pt x="18667" y="2892"/>
                  </a:cubicBezTo>
                  <a:cubicBezTo>
                    <a:pt x="18723" y="2904"/>
                    <a:pt x="18777" y="2932"/>
                    <a:pt x="18838" y="2914"/>
                  </a:cubicBezTo>
                  <a:cubicBezTo>
                    <a:pt x="18864" y="2907"/>
                    <a:pt x="18892" y="2904"/>
                    <a:pt x="18915" y="2892"/>
                  </a:cubicBezTo>
                  <a:cubicBezTo>
                    <a:pt x="18960" y="2867"/>
                    <a:pt x="19000" y="2886"/>
                    <a:pt x="19041" y="2898"/>
                  </a:cubicBezTo>
                  <a:cubicBezTo>
                    <a:pt x="19074" y="2908"/>
                    <a:pt x="19097" y="2933"/>
                    <a:pt x="19118" y="2960"/>
                  </a:cubicBezTo>
                  <a:cubicBezTo>
                    <a:pt x="19142" y="2991"/>
                    <a:pt x="19141" y="3009"/>
                    <a:pt x="19106" y="3029"/>
                  </a:cubicBezTo>
                  <a:cubicBezTo>
                    <a:pt x="19066" y="3051"/>
                    <a:pt x="19026" y="3075"/>
                    <a:pt x="18977" y="3064"/>
                  </a:cubicBezTo>
                  <a:cubicBezTo>
                    <a:pt x="18967" y="3061"/>
                    <a:pt x="18954" y="3061"/>
                    <a:pt x="18948" y="3070"/>
                  </a:cubicBezTo>
                  <a:cubicBezTo>
                    <a:pt x="18940" y="3084"/>
                    <a:pt x="18952" y="3093"/>
                    <a:pt x="18960" y="3102"/>
                  </a:cubicBezTo>
                  <a:cubicBezTo>
                    <a:pt x="18990" y="3138"/>
                    <a:pt x="19023" y="3157"/>
                    <a:pt x="19074" y="3142"/>
                  </a:cubicBezTo>
                  <a:cubicBezTo>
                    <a:pt x="19136" y="3124"/>
                    <a:pt x="19182" y="3164"/>
                    <a:pt x="19224" y="3201"/>
                  </a:cubicBezTo>
                  <a:cubicBezTo>
                    <a:pt x="19263" y="3235"/>
                    <a:pt x="19296" y="3276"/>
                    <a:pt x="19332" y="3313"/>
                  </a:cubicBezTo>
                  <a:cubicBezTo>
                    <a:pt x="19357" y="3338"/>
                    <a:pt x="19380" y="3366"/>
                    <a:pt x="19412" y="3383"/>
                  </a:cubicBezTo>
                  <a:cubicBezTo>
                    <a:pt x="19427" y="3391"/>
                    <a:pt x="19445" y="3400"/>
                    <a:pt x="19439" y="3419"/>
                  </a:cubicBezTo>
                  <a:cubicBezTo>
                    <a:pt x="19432" y="3441"/>
                    <a:pt x="19417" y="3460"/>
                    <a:pt x="19390" y="3461"/>
                  </a:cubicBezTo>
                  <a:cubicBezTo>
                    <a:pt x="19376" y="3462"/>
                    <a:pt x="19361" y="3459"/>
                    <a:pt x="19347" y="3457"/>
                  </a:cubicBezTo>
                  <a:cubicBezTo>
                    <a:pt x="19313" y="3453"/>
                    <a:pt x="19279" y="3435"/>
                    <a:pt x="19244" y="3457"/>
                  </a:cubicBezTo>
                  <a:cubicBezTo>
                    <a:pt x="19171" y="3439"/>
                    <a:pt x="19090" y="3440"/>
                    <a:pt x="19035" y="3375"/>
                  </a:cubicBezTo>
                  <a:cubicBezTo>
                    <a:pt x="19022" y="3359"/>
                    <a:pt x="19009" y="3342"/>
                    <a:pt x="19006" y="3321"/>
                  </a:cubicBezTo>
                  <a:cubicBezTo>
                    <a:pt x="19000" y="3263"/>
                    <a:pt x="18969" y="3221"/>
                    <a:pt x="18926" y="3185"/>
                  </a:cubicBezTo>
                  <a:cubicBezTo>
                    <a:pt x="18902" y="3165"/>
                    <a:pt x="18880" y="3143"/>
                    <a:pt x="18857" y="3122"/>
                  </a:cubicBezTo>
                  <a:cubicBezTo>
                    <a:pt x="18849" y="3115"/>
                    <a:pt x="18838" y="3109"/>
                    <a:pt x="18828" y="3115"/>
                  </a:cubicBezTo>
                  <a:cubicBezTo>
                    <a:pt x="18815" y="3123"/>
                    <a:pt x="18821" y="3138"/>
                    <a:pt x="18825" y="3149"/>
                  </a:cubicBezTo>
                  <a:cubicBezTo>
                    <a:pt x="18832" y="3164"/>
                    <a:pt x="18842" y="3177"/>
                    <a:pt x="18850" y="3192"/>
                  </a:cubicBezTo>
                  <a:cubicBezTo>
                    <a:pt x="18889" y="3268"/>
                    <a:pt x="18885" y="3343"/>
                    <a:pt x="18848" y="3423"/>
                  </a:cubicBezTo>
                  <a:cubicBezTo>
                    <a:pt x="18779" y="3382"/>
                    <a:pt x="18724" y="3330"/>
                    <a:pt x="18692" y="3263"/>
                  </a:cubicBezTo>
                  <a:cubicBezTo>
                    <a:pt x="18665" y="3207"/>
                    <a:pt x="18661" y="3143"/>
                    <a:pt x="18693" y="3082"/>
                  </a:cubicBezTo>
                  <a:cubicBezTo>
                    <a:pt x="18716" y="3037"/>
                    <a:pt x="18691" y="2991"/>
                    <a:pt x="18641" y="2981"/>
                  </a:cubicBezTo>
                  <a:cubicBezTo>
                    <a:pt x="18619" y="2977"/>
                    <a:pt x="18604" y="2989"/>
                    <a:pt x="18608" y="3014"/>
                  </a:cubicBezTo>
                  <a:cubicBezTo>
                    <a:pt x="18617" y="3079"/>
                    <a:pt x="18597" y="3141"/>
                    <a:pt x="18592" y="3205"/>
                  </a:cubicBezTo>
                  <a:cubicBezTo>
                    <a:pt x="18591" y="3217"/>
                    <a:pt x="18590" y="3231"/>
                    <a:pt x="18574" y="3234"/>
                  </a:cubicBezTo>
                  <a:cubicBezTo>
                    <a:pt x="18561" y="3237"/>
                    <a:pt x="18550" y="3230"/>
                    <a:pt x="18542" y="3220"/>
                  </a:cubicBezTo>
                  <a:cubicBezTo>
                    <a:pt x="18505" y="3170"/>
                    <a:pt x="18464" y="3123"/>
                    <a:pt x="18455" y="3058"/>
                  </a:cubicBezTo>
                  <a:cubicBezTo>
                    <a:pt x="18451" y="3032"/>
                    <a:pt x="18460" y="3014"/>
                    <a:pt x="18471" y="2993"/>
                  </a:cubicBezTo>
                  <a:cubicBezTo>
                    <a:pt x="18489" y="2958"/>
                    <a:pt x="18486" y="2948"/>
                    <a:pt x="18455" y="2926"/>
                  </a:cubicBezTo>
                  <a:cubicBezTo>
                    <a:pt x="18444" y="2917"/>
                    <a:pt x="18432" y="2909"/>
                    <a:pt x="18421" y="2899"/>
                  </a:cubicBezTo>
                  <a:cubicBezTo>
                    <a:pt x="18408" y="2889"/>
                    <a:pt x="18395" y="2886"/>
                    <a:pt x="18380" y="2893"/>
                  </a:cubicBezTo>
                  <a:cubicBezTo>
                    <a:pt x="18364" y="2901"/>
                    <a:pt x="18364" y="2916"/>
                    <a:pt x="18365" y="2931"/>
                  </a:cubicBezTo>
                  <a:cubicBezTo>
                    <a:pt x="18366" y="2989"/>
                    <a:pt x="18368" y="3047"/>
                    <a:pt x="18369" y="3106"/>
                  </a:cubicBezTo>
                  <a:cubicBezTo>
                    <a:pt x="18369" y="3126"/>
                    <a:pt x="18376" y="3147"/>
                    <a:pt x="18355" y="3171"/>
                  </a:cubicBezTo>
                  <a:cubicBezTo>
                    <a:pt x="18311" y="3129"/>
                    <a:pt x="18254" y="3104"/>
                    <a:pt x="18215" y="3053"/>
                  </a:cubicBezTo>
                  <a:cubicBezTo>
                    <a:pt x="18180" y="3009"/>
                    <a:pt x="18186" y="2970"/>
                    <a:pt x="18211" y="2928"/>
                  </a:cubicBezTo>
                  <a:cubicBezTo>
                    <a:pt x="18222" y="2907"/>
                    <a:pt x="18241" y="2893"/>
                    <a:pt x="18255" y="2876"/>
                  </a:cubicBezTo>
                  <a:cubicBezTo>
                    <a:pt x="18275" y="2852"/>
                    <a:pt x="18272" y="2840"/>
                    <a:pt x="18242" y="2831"/>
                  </a:cubicBezTo>
                  <a:cubicBezTo>
                    <a:pt x="18180" y="2813"/>
                    <a:pt x="18119" y="2793"/>
                    <a:pt x="18056" y="2780"/>
                  </a:cubicBezTo>
                  <a:cubicBezTo>
                    <a:pt x="18022" y="2773"/>
                    <a:pt x="17995" y="2753"/>
                    <a:pt x="17964" y="2743"/>
                  </a:cubicBezTo>
                  <a:cubicBezTo>
                    <a:pt x="17950" y="2738"/>
                    <a:pt x="17935" y="2732"/>
                    <a:pt x="17923" y="2746"/>
                  </a:cubicBezTo>
                  <a:cubicBezTo>
                    <a:pt x="17914" y="2758"/>
                    <a:pt x="17922" y="2769"/>
                    <a:pt x="17927" y="2781"/>
                  </a:cubicBezTo>
                  <a:cubicBezTo>
                    <a:pt x="17947" y="2831"/>
                    <a:pt x="17966" y="2882"/>
                    <a:pt x="17968" y="2936"/>
                  </a:cubicBezTo>
                  <a:cubicBezTo>
                    <a:pt x="17971" y="3019"/>
                    <a:pt x="18019" y="3067"/>
                    <a:pt x="18089" y="3091"/>
                  </a:cubicBezTo>
                  <a:cubicBezTo>
                    <a:pt x="18156" y="3113"/>
                    <a:pt x="18203" y="3158"/>
                    <a:pt x="18250" y="3204"/>
                  </a:cubicBezTo>
                  <a:cubicBezTo>
                    <a:pt x="18261" y="3214"/>
                    <a:pt x="18269" y="3227"/>
                    <a:pt x="18276" y="3239"/>
                  </a:cubicBezTo>
                  <a:cubicBezTo>
                    <a:pt x="18293" y="3273"/>
                    <a:pt x="18284" y="3286"/>
                    <a:pt x="18245" y="3290"/>
                  </a:cubicBezTo>
                  <a:cubicBezTo>
                    <a:pt x="18234" y="3291"/>
                    <a:pt x="18224" y="3292"/>
                    <a:pt x="18214" y="3293"/>
                  </a:cubicBezTo>
                  <a:cubicBezTo>
                    <a:pt x="18164" y="3301"/>
                    <a:pt x="18124" y="3284"/>
                    <a:pt x="18094" y="3243"/>
                  </a:cubicBezTo>
                  <a:cubicBezTo>
                    <a:pt x="18079" y="3223"/>
                    <a:pt x="18066" y="3202"/>
                    <a:pt x="18051" y="3182"/>
                  </a:cubicBezTo>
                  <a:cubicBezTo>
                    <a:pt x="18045" y="3174"/>
                    <a:pt x="18035" y="3169"/>
                    <a:pt x="18024" y="3173"/>
                  </a:cubicBezTo>
                  <a:cubicBezTo>
                    <a:pt x="18015" y="3176"/>
                    <a:pt x="18010" y="3184"/>
                    <a:pt x="18011" y="3192"/>
                  </a:cubicBezTo>
                  <a:cubicBezTo>
                    <a:pt x="18017" y="3235"/>
                    <a:pt x="18017" y="3279"/>
                    <a:pt x="18061" y="3307"/>
                  </a:cubicBezTo>
                  <a:cubicBezTo>
                    <a:pt x="18087" y="3323"/>
                    <a:pt x="18114" y="3338"/>
                    <a:pt x="18140" y="3357"/>
                  </a:cubicBezTo>
                  <a:cubicBezTo>
                    <a:pt x="18199" y="3401"/>
                    <a:pt x="18229" y="3472"/>
                    <a:pt x="18291" y="3512"/>
                  </a:cubicBezTo>
                  <a:cubicBezTo>
                    <a:pt x="18302" y="3520"/>
                    <a:pt x="18311" y="3535"/>
                    <a:pt x="18304" y="3551"/>
                  </a:cubicBezTo>
                  <a:cubicBezTo>
                    <a:pt x="18296" y="3569"/>
                    <a:pt x="18279" y="3560"/>
                    <a:pt x="18266" y="3561"/>
                  </a:cubicBezTo>
                  <a:cubicBezTo>
                    <a:pt x="18230" y="3562"/>
                    <a:pt x="18195" y="3553"/>
                    <a:pt x="18161" y="3545"/>
                  </a:cubicBezTo>
                  <a:cubicBezTo>
                    <a:pt x="18130" y="3538"/>
                    <a:pt x="18105" y="3519"/>
                    <a:pt x="18090" y="3489"/>
                  </a:cubicBezTo>
                  <a:cubicBezTo>
                    <a:pt x="18086" y="3481"/>
                    <a:pt x="18083" y="3473"/>
                    <a:pt x="18077" y="3468"/>
                  </a:cubicBezTo>
                  <a:cubicBezTo>
                    <a:pt x="18066" y="3455"/>
                    <a:pt x="18057" y="3428"/>
                    <a:pt x="18036" y="3443"/>
                  </a:cubicBezTo>
                  <a:cubicBezTo>
                    <a:pt x="18017" y="3457"/>
                    <a:pt x="18034" y="3477"/>
                    <a:pt x="18042" y="3494"/>
                  </a:cubicBezTo>
                  <a:cubicBezTo>
                    <a:pt x="18052" y="3515"/>
                    <a:pt x="18068" y="3532"/>
                    <a:pt x="18086" y="3546"/>
                  </a:cubicBezTo>
                  <a:cubicBezTo>
                    <a:pt x="18104" y="3560"/>
                    <a:pt x="18118" y="3578"/>
                    <a:pt x="18133" y="3595"/>
                  </a:cubicBezTo>
                  <a:cubicBezTo>
                    <a:pt x="18181" y="3653"/>
                    <a:pt x="18188" y="3728"/>
                    <a:pt x="18149" y="3793"/>
                  </a:cubicBezTo>
                  <a:cubicBezTo>
                    <a:pt x="18142" y="3804"/>
                    <a:pt x="18132" y="3812"/>
                    <a:pt x="18118" y="3804"/>
                  </a:cubicBezTo>
                  <a:cubicBezTo>
                    <a:pt x="18076" y="3778"/>
                    <a:pt x="18033" y="3752"/>
                    <a:pt x="17991" y="3725"/>
                  </a:cubicBezTo>
                  <a:cubicBezTo>
                    <a:pt x="17930" y="3684"/>
                    <a:pt x="17919" y="3618"/>
                    <a:pt x="17951" y="3562"/>
                  </a:cubicBezTo>
                  <a:cubicBezTo>
                    <a:pt x="17963" y="3541"/>
                    <a:pt x="17973" y="3521"/>
                    <a:pt x="17970" y="3497"/>
                  </a:cubicBezTo>
                  <a:cubicBezTo>
                    <a:pt x="17969" y="3489"/>
                    <a:pt x="17968" y="3479"/>
                    <a:pt x="17960" y="3475"/>
                  </a:cubicBezTo>
                  <a:cubicBezTo>
                    <a:pt x="17950" y="3470"/>
                    <a:pt x="17939" y="3473"/>
                    <a:pt x="17932" y="3482"/>
                  </a:cubicBezTo>
                  <a:cubicBezTo>
                    <a:pt x="17912" y="3509"/>
                    <a:pt x="17894" y="3536"/>
                    <a:pt x="17875" y="3564"/>
                  </a:cubicBezTo>
                  <a:cubicBezTo>
                    <a:pt x="17849" y="3604"/>
                    <a:pt x="17826" y="3604"/>
                    <a:pt x="17806" y="3563"/>
                  </a:cubicBezTo>
                  <a:cubicBezTo>
                    <a:pt x="17769" y="3485"/>
                    <a:pt x="17797" y="3378"/>
                    <a:pt x="17865" y="3349"/>
                  </a:cubicBezTo>
                  <a:cubicBezTo>
                    <a:pt x="17885" y="3340"/>
                    <a:pt x="17904" y="3326"/>
                    <a:pt x="17925" y="3318"/>
                  </a:cubicBezTo>
                  <a:cubicBezTo>
                    <a:pt x="17949" y="3309"/>
                    <a:pt x="17962" y="3290"/>
                    <a:pt x="17957" y="3263"/>
                  </a:cubicBezTo>
                  <a:cubicBezTo>
                    <a:pt x="17955" y="3246"/>
                    <a:pt x="17959" y="3224"/>
                    <a:pt x="17940" y="3213"/>
                  </a:cubicBezTo>
                  <a:cubicBezTo>
                    <a:pt x="17918" y="3200"/>
                    <a:pt x="17907" y="3222"/>
                    <a:pt x="17892" y="3231"/>
                  </a:cubicBezTo>
                  <a:cubicBezTo>
                    <a:pt x="17865" y="3247"/>
                    <a:pt x="17840" y="3265"/>
                    <a:pt x="17812" y="3280"/>
                  </a:cubicBezTo>
                  <a:cubicBezTo>
                    <a:pt x="17782" y="3296"/>
                    <a:pt x="17766" y="3288"/>
                    <a:pt x="17758" y="3257"/>
                  </a:cubicBezTo>
                  <a:cubicBezTo>
                    <a:pt x="17742" y="3193"/>
                    <a:pt x="17794" y="3107"/>
                    <a:pt x="17857" y="3094"/>
                  </a:cubicBezTo>
                  <a:cubicBezTo>
                    <a:pt x="17904" y="3084"/>
                    <a:pt x="17912" y="3072"/>
                    <a:pt x="17916" y="3022"/>
                  </a:cubicBezTo>
                  <a:cubicBezTo>
                    <a:pt x="17924" y="2929"/>
                    <a:pt x="17887" y="2850"/>
                    <a:pt x="17849" y="2767"/>
                  </a:cubicBezTo>
                  <a:cubicBezTo>
                    <a:pt x="17817" y="2699"/>
                    <a:pt x="17776" y="2643"/>
                    <a:pt x="17727" y="2589"/>
                  </a:cubicBezTo>
                  <a:cubicBezTo>
                    <a:pt x="17719" y="2580"/>
                    <a:pt x="17714" y="2567"/>
                    <a:pt x="17701" y="2563"/>
                  </a:cubicBezTo>
                  <a:cubicBezTo>
                    <a:pt x="17686" y="2557"/>
                    <a:pt x="17673" y="2557"/>
                    <a:pt x="17667" y="2577"/>
                  </a:cubicBezTo>
                  <a:cubicBezTo>
                    <a:pt x="17654" y="2625"/>
                    <a:pt x="17667" y="2665"/>
                    <a:pt x="17711" y="2695"/>
                  </a:cubicBezTo>
                  <a:cubicBezTo>
                    <a:pt x="17766" y="2733"/>
                    <a:pt x="17808" y="2780"/>
                    <a:pt x="17815" y="2850"/>
                  </a:cubicBezTo>
                  <a:cubicBezTo>
                    <a:pt x="17816" y="2864"/>
                    <a:pt x="17818" y="2879"/>
                    <a:pt x="17816" y="2893"/>
                  </a:cubicBezTo>
                  <a:cubicBezTo>
                    <a:pt x="17814" y="2912"/>
                    <a:pt x="17812" y="2932"/>
                    <a:pt x="17792" y="2941"/>
                  </a:cubicBezTo>
                  <a:cubicBezTo>
                    <a:pt x="17772" y="2948"/>
                    <a:pt x="17762" y="2929"/>
                    <a:pt x="17749" y="2920"/>
                  </a:cubicBezTo>
                  <a:cubicBezTo>
                    <a:pt x="17729" y="2906"/>
                    <a:pt x="17710" y="2890"/>
                    <a:pt x="17690" y="2875"/>
                  </a:cubicBezTo>
                  <a:cubicBezTo>
                    <a:pt x="17631" y="2829"/>
                    <a:pt x="17610" y="2766"/>
                    <a:pt x="17607" y="2695"/>
                  </a:cubicBezTo>
                  <a:cubicBezTo>
                    <a:pt x="17607" y="2678"/>
                    <a:pt x="17606" y="2661"/>
                    <a:pt x="17607" y="2645"/>
                  </a:cubicBezTo>
                  <a:cubicBezTo>
                    <a:pt x="17608" y="2573"/>
                    <a:pt x="17561" y="2512"/>
                    <a:pt x="17478" y="2489"/>
                  </a:cubicBezTo>
                  <a:cubicBezTo>
                    <a:pt x="17379" y="2461"/>
                    <a:pt x="17283" y="2477"/>
                    <a:pt x="17184" y="2499"/>
                  </a:cubicBezTo>
                  <a:cubicBezTo>
                    <a:pt x="17088" y="2520"/>
                    <a:pt x="17001" y="2565"/>
                    <a:pt x="16906" y="2588"/>
                  </a:cubicBezTo>
                  <a:cubicBezTo>
                    <a:pt x="16795" y="2614"/>
                    <a:pt x="16702" y="2680"/>
                    <a:pt x="16610" y="2744"/>
                  </a:cubicBezTo>
                  <a:cubicBezTo>
                    <a:pt x="16570" y="2771"/>
                    <a:pt x="16525" y="2789"/>
                    <a:pt x="16490" y="2822"/>
                  </a:cubicBezTo>
                  <a:cubicBezTo>
                    <a:pt x="16481" y="2831"/>
                    <a:pt x="16469" y="2836"/>
                    <a:pt x="16456" y="2836"/>
                  </a:cubicBezTo>
                  <a:cubicBezTo>
                    <a:pt x="16393" y="2837"/>
                    <a:pt x="16335" y="2867"/>
                    <a:pt x="16271" y="2864"/>
                  </a:cubicBezTo>
                  <a:cubicBezTo>
                    <a:pt x="16267" y="2864"/>
                    <a:pt x="16263" y="2864"/>
                    <a:pt x="16259" y="2865"/>
                  </a:cubicBezTo>
                  <a:cubicBezTo>
                    <a:pt x="16245" y="2868"/>
                    <a:pt x="16227" y="2868"/>
                    <a:pt x="16222" y="2884"/>
                  </a:cubicBezTo>
                  <a:cubicBezTo>
                    <a:pt x="16217" y="2903"/>
                    <a:pt x="16231" y="2914"/>
                    <a:pt x="16246" y="2923"/>
                  </a:cubicBezTo>
                  <a:cubicBezTo>
                    <a:pt x="16313" y="2963"/>
                    <a:pt x="16387" y="2985"/>
                    <a:pt x="16459" y="3011"/>
                  </a:cubicBezTo>
                  <a:cubicBezTo>
                    <a:pt x="16515" y="3032"/>
                    <a:pt x="16572" y="3034"/>
                    <a:pt x="16630" y="3037"/>
                  </a:cubicBezTo>
                  <a:cubicBezTo>
                    <a:pt x="16671" y="3039"/>
                    <a:pt x="16704" y="3027"/>
                    <a:pt x="16728" y="2994"/>
                  </a:cubicBezTo>
                  <a:cubicBezTo>
                    <a:pt x="16739" y="2981"/>
                    <a:pt x="16749" y="2968"/>
                    <a:pt x="16759" y="2954"/>
                  </a:cubicBezTo>
                  <a:cubicBezTo>
                    <a:pt x="16789" y="2911"/>
                    <a:pt x="16826" y="2877"/>
                    <a:pt x="16877" y="2857"/>
                  </a:cubicBezTo>
                  <a:cubicBezTo>
                    <a:pt x="16918" y="2841"/>
                    <a:pt x="16956" y="2820"/>
                    <a:pt x="16996" y="2802"/>
                  </a:cubicBezTo>
                  <a:cubicBezTo>
                    <a:pt x="17020" y="2792"/>
                    <a:pt x="17035" y="2802"/>
                    <a:pt x="17028" y="2828"/>
                  </a:cubicBezTo>
                  <a:cubicBezTo>
                    <a:pt x="17005" y="2909"/>
                    <a:pt x="16979" y="2989"/>
                    <a:pt x="16880" y="3010"/>
                  </a:cubicBezTo>
                  <a:cubicBezTo>
                    <a:pt x="16859" y="3014"/>
                    <a:pt x="16828" y="3016"/>
                    <a:pt x="16831" y="3046"/>
                  </a:cubicBezTo>
                  <a:cubicBezTo>
                    <a:pt x="16834" y="3077"/>
                    <a:pt x="16865" y="3070"/>
                    <a:pt x="16887" y="3073"/>
                  </a:cubicBezTo>
                  <a:cubicBezTo>
                    <a:pt x="16954" y="3080"/>
                    <a:pt x="17014" y="3062"/>
                    <a:pt x="17064" y="3015"/>
                  </a:cubicBezTo>
                  <a:cubicBezTo>
                    <a:pt x="17116" y="2967"/>
                    <a:pt x="17178" y="2938"/>
                    <a:pt x="17247" y="2927"/>
                  </a:cubicBezTo>
                  <a:cubicBezTo>
                    <a:pt x="17287" y="2921"/>
                    <a:pt x="17298" y="2934"/>
                    <a:pt x="17283" y="2970"/>
                  </a:cubicBezTo>
                  <a:cubicBezTo>
                    <a:pt x="17279" y="2980"/>
                    <a:pt x="17273" y="2989"/>
                    <a:pt x="17269" y="2998"/>
                  </a:cubicBezTo>
                  <a:cubicBezTo>
                    <a:pt x="17232" y="3083"/>
                    <a:pt x="17164" y="3124"/>
                    <a:pt x="17072" y="3116"/>
                  </a:cubicBezTo>
                  <a:cubicBezTo>
                    <a:pt x="17070" y="3116"/>
                    <a:pt x="17068" y="3116"/>
                    <a:pt x="17066" y="3115"/>
                  </a:cubicBezTo>
                  <a:cubicBezTo>
                    <a:pt x="17043" y="3111"/>
                    <a:pt x="17019" y="3109"/>
                    <a:pt x="17007" y="3135"/>
                  </a:cubicBezTo>
                  <a:cubicBezTo>
                    <a:pt x="17001" y="3149"/>
                    <a:pt x="17032" y="3178"/>
                    <a:pt x="17056" y="3184"/>
                  </a:cubicBezTo>
                  <a:cubicBezTo>
                    <a:pt x="17064" y="3185"/>
                    <a:pt x="17073" y="3185"/>
                    <a:pt x="17081" y="3186"/>
                  </a:cubicBezTo>
                  <a:cubicBezTo>
                    <a:pt x="17173" y="3197"/>
                    <a:pt x="17233" y="3249"/>
                    <a:pt x="17258" y="3337"/>
                  </a:cubicBezTo>
                  <a:cubicBezTo>
                    <a:pt x="17269" y="3372"/>
                    <a:pt x="17282" y="3408"/>
                    <a:pt x="17295" y="3443"/>
                  </a:cubicBezTo>
                  <a:cubicBezTo>
                    <a:pt x="17300" y="3456"/>
                    <a:pt x="17307" y="3469"/>
                    <a:pt x="17308" y="3484"/>
                  </a:cubicBezTo>
                  <a:cubicBezTo>
                    <a:pt x="17310" y="3514"/>
                    <a:pt x="17293" y="3530"/>
                    <a:pt x="17266" y="3519"/>
                  </a:cubicBezTo>
                  <a:cubicBezTo>
                    <a:pt x="17232" y="3503"/>
                    <a:pt x="17195" y="3496"/>
                    <a:pt x="17161" y="3481"/>
                  </a:cubicBezTo>
                  <a:cubicBezTo>
                    <a:pt x="17083" y="3447"/>
                    <a:pt x="17045" y="3381"/>
                    <a:pt x="17031" y="3302"/>
                  </a:cubicBezTo>
                  <a:cubicBezTo>
                    <a:pt x="17023" y="3251"/>
                    <a:pt x="16991" y="3222"/>
                    <a:pt x="16953" y="3196"/>
                  </a:cubicBezTo>
                  <a:cubicBezTo>
                    <a:pt x="16944" y="3190"/>
                    <a:pt x="16934" y="3186"/>
                    <a:pt x="16924" y="3195"/>
                  </a:cubicBezTo>
                  <a:cubicBezTo>
                    <a:pt x="16915" y="3203"/>
                    <a:pt x="16916" y="3214"/>
                    <a:pt x="16920" y="3224"/>
                  </a:cubicBezTo>
                  <a:cubicBezTo>
                    <a:pt x="16924" y="3235"/>
                    <a:pt x="16930" y="3246"/>
                    <a:pt x="16935" y="3258"/>
                  </a:cubicBezTo>
                  <a:cubicBezTo>
                    <a:pt x="16948" y="3287"/>
                    <a:pt x="16955" y="3316"/>
                    <a:pt x="16941" y="3348"/>
                  </a:cubicBezTo>
                  <a:cubicBezTo>
                    <a:pt x="16926" y="3383"/>
                    <a:pt x="16928" y="3421"/>
                    <a:pt x="16929" y="3459"/>
                  </a:cubicBezTo>
                  <a:cubicBezTo>
                    <a:pt x="16929" y="3481"/>
                    <a:pt x="16918" y="3490"/>
                    <a:pt x="16897" y="3481"/>
                  </a:cubicBezTo>
                  <a:cubicBezTo>
                    <a:pt x="16817" y="3449"/>
                    <a:pt x="16764" y="3366"/>
                    <a:pt x="16769" y="3285"/>
                  </a:cubicBezTo>
                  <a:cubicBezTo>
                    <a:pt x="16771" y="3252"/>
                    <a:pt x="16783" y="3225"/>
                    <a:pt x="16804" y="3200"/>
                  </a:cubicBezTo>
                  <a:cubicBezTo>
                    <a:pt x="16817" y="3186"/>
                    <a:pt x="16825" y="3167"/>
                    <a:pt x="16810" y="3149"/>
                  </a:cubicBezTo>
                  <a:cubicBezTo>
                    <a:pt x="16797" y="3135"/>
                    <a:pt x="16781" y="3124"/>
                    <a:pt x="16761" y="3127"/>
                  </a:cubicBezTo>
                  <a:cubicBezTo>
                    <a:pt x="16739" y="3130"/>
                    <a:pt x="16741" y="3150"/>
                    <a:pt x="16737" y="3166"/>
                  </a:cubicBezTo>
                  <a:cubicBezTo>
                    <a:pt x="16719" y="3231"/>
                    <a:pt x="16697" y="3296"/>
                    <a:pt x="16708" y="3368"/>
                  </a:cubicBezTo>
                  <a:cubicBezTo>
                    <a:pt x="16615" y="3341"/>
                    <a:pt x="16574" y="3258"/>
                    <a:pt x="16609" y="3180"/>
                  </a:cubicBezTo>
                  <a:cubicBezTo>
                    <a:pt x="16625" y="3144"/>
                    <a:pt x="16619" y="3128"/>
                    <a:pt x="16582" y="3123"/>
                  </a:cubicBezTo>
                  <a:cubicBezTo>
                    <a:pt x="16536" y="3117"/>
                    <a:pt x="16495" y="3092"/>
                    <a:pt x="16449" y="3089"/>
                  </a:cubicBezTo>
                  <a:cubicBezTo>
                    <a:pt x="16422" y="3087"/>
                    <a:pt x="16410" y="3098"/>
                    <a:pt x="16420" y="3120"/>
                  </a:cubicBezTo>
                  <a:cubicBezTo>
                    <a:pt x="16444" y="3173"/>
                    <a:pt x="16449" y="3230"/>
                    <a:pt x="16450" y="3285"/>
                  </a:cubicBezTo>
                  <a:cubicBezTo>
                    <a:pt x="16451" y="3372"/>
                    <a:pt x="16497" y="3416"/>
                    <a:pt x="16573" y="3433"/>
                  </a:cubicBezTo>
                  <a:cubicBezTo>
                    <a:pt x="16679" y="3456"/>
                    <a:pt x="16753" y="3533"/>
                    <a:pt x="16842" y="3585"/>
                  </a:cubicBezTo>
                  <a:cubicBezTo>
                    <a:pt x="16864" y="3598"/>
                    <a:pt x="16861" y="3614"/>
                    <a:pt x="16842" y="3630"/>
                  </a:cubicBezTo>
                  <a:cubicBezTo>
                    <a:pt x="16796" y="3669"/>
                    <a:pt x="16737" y="3673"/>
                    <a:pt x="16679" y="3652"/>
                  </a:cubicBezTo>
                  <a:cubicBezTo>
                    <a:pt x="16630" y="3633"/>
                    <a:pt x="16606" y="3594"/>
                    <a:pt x="16577" y="3557"/>
                  </a:cubicBezTo>
                  <a:cubicBezTo>
                    <a:pt x="16563" y="3539"/>
                    <a:pt x="16551" y="3511"/>
                    <a:pt x="16524" y="3527"/>
                  </a:cubicBezTo>
                  <a:cubicBezTo>
                    <a:pt x="16501" y="3541"/>
                    <a:pt x="16512" y="3568"/>
                    <a:pt x="16518" y="3590"/>
                  </a:cubicBezTo>
                  <a:cubicBezTo>
                    <a:pt x="16523" y="3610"/>
                    <a:pt x="16536" y="3626"/>
                    <a:pt x="16554" y="3639"/>
                  </a:cubicBezTo>
                  <a:cubicBezTo>
                    <a:pt x="16611" y="3680"/>
                    <a:pt x="16655" y="3732"/>
                    <a:pt x="16677" y="3799"/>
                  </a:cubicBezTo>
                  <a:cubicBezTo>
                    <a:pt x="16687" y="3828"/>
                    <a:pt x="16710" y="3847"/>
                    <a:pt x="16724" y="3873"/>
                  </a:cubicBezTo>
                  <a:cubicBezTo>
                    <a:pt x="16733" y="3892"/>
                    <a:pt x="16749" y="3910"/>
                    <a:pt x="16731" y="3929"/>
                  </a:cubicBezTo>
                  <a:cubicBezTo>
                    <a:pt x="16716" y="3945"/>
                    <a:pt x="16700" y="3928"/>
                    <a:pt x="16685" y="3925"/>
                  </a:cubicBezTo>
                  <a:cubicBezTo>
                    <a:pt x="16653" y="3919"/>
                    <a:pt x="16627" y="3903"/>
                    <a:pt x="16600" y="3886"/>
                  </a:cubicBezTo>
                  <a:cubicBezTo>
                    <a:pt x="16556" y="3857"/>
                    <a:pt x="16530" y="3816"/>
                    <a:pt x="16521" y="3764"/>
                  </a:cubicBezTo>
                  <a:cubicBezTo>
                    <a:pt x="16518" y="3753"/>
                    <a:pt x="16515" y="3737"/>
                    <a:pt x="16499" y="3738"/>
                  </a:cubicBezTo>
                  <a:cubicBezTo>
                    <a:pt x="16484" y="3739"/>
                    <a:pt x="16482" y="3753"/>
                    <a:pt x="16480" y="3766"/>
                  </a:cubicBezTo>
                  <a:cubicBezTo>
                    <a:pt x="16476" y="3793"/>
                    <a:pt x="16473" y="3822"/>
                    <a:pt x="16488" y="3845"/>
                  </a:cubicBezTo>
                  <a:cubicBezTo>
                    <a:pt x="16511" y="3885"/>
                    <a:pt x="16523" y="3930"/>
                    <a:pt x="16552" y="3966"/>
                  </a:cubicBezTo>
                  <a:cubicBezTo>
                    <a:pt x="16578" y="4000"/>
                    <a:pt x="16576" y="4036"/>
                    <a:pt x="16559" y="4072"/>
                  </a:cubicBezTo>
                  <a:cubicBezTo>
                    <a:pt x="16549" y="4093"/>
                    <a:pt x="16537" y="4112"/>
                    <a:pt x="16525" y="4132"/>
                  </a:cubicBezTo>
                  <a:cubicBezTo>
                    <a:pt x="16487" y="4198"/>
                    <a:pt x="16415" y="4200"/>
                    <a:pt x="16381" y="4118"/>
                  </a:cubicBezTo>
                  <a:cubicBezTo>
                    <a:pt x="16342" y="4022"/>
                    <a:pt x="16338" y="3928"/>
                    <a:pt x="16389" y="3835"/>
                  </a:cubicBezTo>
                  <a:cubicBezTo>
                    <a:pt x="16398" y="3819"/>
                    <a:pt x="16405" y="3802"/>
                    <a:pt x="16413" y="3785"/>
                  </a:cubicBezTo>
                  <a:cubicBezTo>
                    <a:pt x="16416" y="3776"/>
                    <a:pt x="16415" y="3768"/>
                    <a:pt x="16407" y="3763"/>
                  </a:cubicBezTo>
                  <a:cubicBezTo>
                    <a:pt x="16400" y="3758"/>
                    <a:pt x="16392" y="3759"/>
                    <a:pt x="16384" y="3763"/>
                  </a:cubicBezTo>
                  <a:cubicBezTo>
                    <a:pt x="16380" y="3765"/>
                    <a:pt x="16376" y="3767"/>
                    <a:pt x="16374" y="3770"/>
                  </a:cubicBezTo>
                  <a:cubicBezTo>
                    <a:pt x="16336" y="3836"/>
                    <a:pt x="16263" y="3838"/>
                    <a:pt x="16203" y="3862"/>
                  </a:cubicBezTo>
                  <a:cubicBezTo>
                    <a:pt x="16194" y="3866"/>
                    <a:pt x="16183" y="3866"/>
                    <a:pt x="16173" y="3866"/>
                  </a:cubicBezTo>
                  <a:cubicBezTo>
                    <a:pt x="16151" y="3865"/>
                    <a:pt x="16142" y="3854"/>
                    <a:pt x="16151" y="3833"/>
                  </a:cubicBezTo>
                  <a:cubicBezTo>
                    <a:pt x="16163" y="3806"/>
                    <a:pt x="16174" y="3780"/>
                    <a:pt x="16187" y="3753"/>
                  </a:cubicBezTo>
                  <a:cubicBezTo>
                    <a:pt x="16216" y="3693"/>
                    <a:pt x="16264" y="3664"/>
                    <a:pt x="16331" y="3663"/>
                  </a:cubicBezTo>
                  <a:cubicBezTo>
                    <a:pt x="16403" y="3662"/>
                    <a:pt x="16446" y="3612"/>
                    <a:pt x="16435" y="3541"/>
                  </a:cubicBezTo>
                  <a:cubicBezTo>
                    <a:pt x="16432" y="3520"/>
                    <a:pt x="16420" y="3512"/>
                    <a:pt x="16399" y="3522"/>
                  </a:cubicBezTo>
                  <a:cubicBezTo>
                    <a:pt x="16334" y="3552"/>
                    <a:pt x="16265" y="3578"/>
                    <a:pt x="16224" y="3644"/>
                  </a:cubicBezTo>
                  <a:cubicBezTo>
                    <a:pt x="16216" y="3657"/>
                    <a:pt x="16204" y="3665"/>
                    <a:pt x="16185" y="3663"/>
                  </a:cubicBezTo>
                  <a:cubicBezTo>
                    <a:pt x="16169" y="3614"/>
                    <a:pt x="16188" y="3569"/>
                    <a:pt x="16212" y="3528"/>
                  </a:cubicBezTo>
                  <a:cubicBezTo>
                    <a:pt x="16233" y="3493"/>
                    <a:pt x="16265" y="3464"/>
                    <a:pt x="16291" y="3432"/>
                  </a:cubicBezTo>
                  <a:cubicBezTo>
                    <a:pt x="16302" y="3419"/>
                    <a:pt x="16318" y="3424"/>
                    <a:pt x="16332" y="3421"/>
                  </a:cubicBezTo>
                  <a:cubicBezTo>
                    <a:pt x="16377" y="3412"/>
                    <a:pt x="16381" y="3405"/>
                    <a:pt x="16380" y="3358"/>
                  </a:cubicBezTo>
                  <a:cubicBezTo>
                    <a:pt x="16379" y="3272"/>
                    <a:pt x="16356" y="3192"/>
                    <a:pt x="16316" y="3119"/>
                  </a:cubicBezTo>
                  <a:cubicBezTo>
                    <a:pt x="16267" y="3031"/>
                    <a:pt x="16188" y="2981"/>
                    <a:pt x="16088" y="2978"/>
                  </a:cubicBezTo>
                  <a:cubicBezTo>
                    <a:pt x="16043" y="2977"/>
                    <a:pt x="15997" y="2994"/>
                    <a:pt x="15959" y="3020"/>
                  </a:cubicBezTo>
                  <a:cubicBezTo>
                    <a:pt x="15883" y="3070"/>
                    <a:pt x="15808" y="3124"/>
                    <a:pt x="15747" y="3192"/>
                  </a:cubicBezTo>
                  <a:cubicBezTo>
                    <a:pt x="15710" y="3234"/>
                    <a:pt x="15675" y="3278"/>
                    <a:pt x="15643" y="3325"/>
                  </a:cubicBezTo>
                  <a:cubicBezTo>
                    <a:pt x="15603" y="3384"/>
                    <a:pt x="15544" y="3426"/>
                    <a:pt x="15495" y="3476"/>
                  </a:cubicBezTo>
                  <a:cubicBezTo>
                    <a:pt x="15453" y="3520"/>
                    <a:pt x="15414" y="3565"/>
                    <a:pt x="15374" y="3611"/>
                  </a:cubicBezTo>
                  <a:cubicBezTo>
                    <a:pt x="15345" y="3644"/>
                    <a:pt x="15327" y="3685"/>
                    <a:pt x="15315" y="3727"/>
                  </a:cubicBezTo>
                  <a:cubicBezTo>
                    <a:pt x="15294" y="3801"/>
                    <a:pt x="15276" y="3875"/>
                    <a:pt x="15256" y="3949"/>
                  </a:cubicBezTo>
                  <a:cubicBezTo>
                    <a:pt x="15249" y="3975"/>
                    <a:pt x="15239" y="4001"/>
                    <a:pt x="15232" y="4027"/>
                  </a:cubicBezTo>
                  <a:cubicBezTo>
                    <a:pt x="15228" y="4043"/>
                    <a:pt x="15225" y="4061"/>
                    <a:pt x="15242" y="4072"/>
                  </a:cubicBezTo>
                  <a:cubicBezTo>
                    <a:pt x="15256" y="4081"/>
                    <a:pt x="15271" y="4073"/>
                    <a:pt x="15283" y="4065"/>
                  </a:cubicBezTo>
                  <a:cubicBezTo>
                    <a:pt x="15302" y="4053"/>
                    <a:pt x="15321" y="4040"/>
                    <a:pt x="15340" y="4027"/>
                  </a:cubicBezTo>
                  <a:cubicBezTo>
                    <a:pt x="15369" y="4007"/>
                    <a:pt x="15384" y="3982"/>
                    <a:pt x="15387" y="3944"/>
                  </a:cubicBezTo>
                  <a:cubicBezTo>
                    <a:pt x="15394" y="3850"/>
                    <a:pt x="15417" y="3760"/>
                    <a:pt x="15460" y="3675"/>
                  </a:cubicBezTo>
                  <a:cubicBezTo>
                    <a:pt x="15466" y="3664"/>
                    <a:pt x="15468" y="3651"/>
                    <a:pt x="15484" y="3649"/>
                  </a:cubicBezTo>
                  <a:cubicBezTo>
                    <a:pt x="15499" y="3648"/>
                    <a:pt x="15504" y="3660"/>
                    <a:pt x="15511" y="3670"/>
                  </a:cubicBezTo>
                  <a:cubicBezTo>
                    <a:pt x="15536" y="3704"/>
                    <a:pt x="15535" y="3740"/>
                    <a:pt x="15526" y="3778"/>
                  </a:cubicBezTo>
                  <a:cubicBezTo>
                    <a:pt x="15519" y="3810"/>
                    <a:pt x="15503" y="3840"/>
                    <a:pt x="15506" y="3875"/>
                  </a:cubicBezTo>
                  <a:cubicBezTo>
                    <a:pt x="15504" y="3875"/>
                    <a:pt x="15503" y="3875"/>
                    <a:pt x="15501" y="3876"/>
                  </a:cubicBezTo>
                  <a:cubicBezTo>
                    <a:pt x="15501" y="3876"/>
                    <a:pt x="15501" y="3878"/>
                    <a:pt x="15500" y="3879"/>
                  </a:cubicBezTo>
                  <a:cubicBezTo>
                    <a:pt x="15502" y="3877"/>
                    <a:pt x="15503" y="3875"/>
                    <a:pt x="15504" y="3873"/>
                  </a:cubicBezTo>
                  <a:close/>
                  <a:moveTo>
                    <a:pt x="8633" y="6446"/>
                  </a:moveTo>
                  <a:cubicBezTo>
                    <a:pt x="8634" y="6459"/>
                    <a:pt x="8626" y="6475"/>
                    <a:pt x="8641" y="6485"/>
                  </a:cubicBezTo>
                  <a:cubicBezTo>
                    <a:pt x="8647" y="6470"/>
                    <a:pt x="8640" y="6459"/>
                    <a:pt x="8631" y="6448"/>
                  </a:cubicBezTo>
                  <a:cubicBezTo>
                    <a:pt x="8621" y="6374"/>
                    <a:pt x="8640" y="6309"/>
                    <a:pt x="8685" y="6250"/>
                  </a:cubicBezTo>
                  <a:cubicBezTo>
                    <a:pt x="8711" y="6216"/>
                    <a:pt x="8719" y="6175"/>
                    <a:pt x="8720" y="6133"/>
                  </a:cubicBezTo>
                  <a:cubicBezTo>
                    <a:pt x="8721" y="6119"/>
                    <a:pt x="8720" y="6102"/>
                    <a:pt x="8703" y="6096"/>
                  </a:cubicBezTo>
                  <a:cubicBezTo>
                    <a:pt x="8686" y="6089"/>
                    <a:pt x="8677" y="6104"/>
                    <a:pt x="8669" y="6115"/>
                  </a:cubicBezTo>
                  <a:cubicBezTo>
                    <a:pt x="8626" y="6174"/>
                    <a:pt x="8568" y="6205"/>
                    <a:pt x="8496" y="6212"/>
                  </a:cubicBezTo>
                  <a:cubicBezTo>
                    <a:pt x="8468" y="6214"/>
                    <a:pt x="8458" y="6242"/>
                    <a:pt x="8472" y="6267"/>
                  </a:cubicBezTo>
                  <a:cubicBezTo>
                    <a:pt x="8479" y="6278"/>
                    <a:pt x="8489" y="6285"/>
                    <a:pt x="8501" y="6290"/>
                  </a:cubicBezTo>
                  <a:cubicBezTo>
                    <a:pt x="8540" y="6309"/>
                    <a:pt x="8564" y="6340"/>
                    <a:pt x="8583" y="6380"/>
                  </a:cubicBezTo>
                  <a:cubicBezTo>
                    <a:pt x="8594" y="6405"/>
                    <a:pt x="8600" y="6437"/>
                    <a:pt x="8633" y="6446"/>
                  </a:cubicBezTo>
                  <a:close/>
                  <a:moveTo>
                    <a:pt x="11018" y="863"/>
                  </a:moveTo>
                  <a:cubicBezTo>
                    <a:pt x="11012" y="830"/>
                    <a:pt x="10979" y="816"/>
                    <a:pt x="10966" y="787"/>
                  </a:cubicBezTo>
                  <a:cubicBezTo>
                    <a:pt x="10957" y="767"/>
                    <a:pt x="10937" y="777"/>
                    <a:pt x="10925" y="790"/>
                  </a:cubicBezTo>
                  <a:cubicBezTo>
                    <a:pt x="10911" y="804"/>
                    <a:pt x="10888" y="814"/>
                    <a:pt x="10896" y="840"/>
                  </a:cubicBezTo>
                  <a:cubicBezTo>
                    <a:pt x="10897" y="843"/>
                    <a:pt x="10903" y="848"/>
                    <a:pt x="10905" y="848"/>
                  </a:cubicBezTo>
                  <a:cubicBezTo>
                    <a:pt x="10945" y="837"/>
                    <a:pt x="10979" y="871"/>
                    <a:pt x="11019" y="861"/>
                  </a:cubicBezTo>
                  <a:cubicBezTo>
                    <a:pt x="11040" y="895"/>
                    <a:pt x="11074" y="909"/>
                    <a:pt x="11109" y="922"/>
                  </a:cubicBezTo>
                  <a:cubicBezTo>
                    <a:pt x="11121" y="927"/>
                    <a:pt x="11136" y="928"/>
                    <a:pt x="11135" y="944"/>
                  </a:cubicBezTo>
                  <a:cubicBezTo>
                    <a:pt x="11134" y="957"/>
                    <a:pt x="11124" y="968"/>
                    <a:pt x="11112" y="972"/>
                  </a:cubicBezTo>
                  <a:cubicBezTo>
                    <a:pt x="11067" y="989"/>
                    <a:pt x="11023" y="1010"/>
                    <a:pt x="10977" y="1018"/>
                  </a:cubicBezTo>
                  <a:cubicBezTo>
                    <a:pt x="10913" y="1029"/>
                    <a:pt x="10848" y="1034"/>
                    <a:pt x="10802" y="970"/>
                  </a:cubicBezTo>
                  <a:cubicBezTo>
                    <a:pt x="10788" y="952"/>
                    <a:pt x="10767" y="956"/>
                    <a:pt x="10753" y="972"/>
                  </a:cubicBezTo>
                  <a:cubicBezTo>
                    <a:pt x="10711" y="1020"/>
                    <a:pt x="10664" y="1065"/>
                    <a:pt x="10656" y="1135"/>
                  </a:cubicBezTo>
                  <a:cubicBezTo>
                    <a:pt x="10644" y="1230"/>
                    <a:pt x="10625" y="1324"/>
                    <a:pt x="10639" y="1420"/>
                  </a:cubicBezTo>
                  <a:cubicBezTo>
                    <a:pt x="10641" y="1433"/>
                    <a:pt x="10626" y="1450"/>
                    <a:pt x="10645" y="1458"/>
                  </a:cubicBezTo>
                  <a:cubicBezTo>
                    <a:pt x="10661" y="1465"/>
                    <a:pt x="10672" y="1452"/>
                    <a:pt x="10683" y="1442"/>
                  </a:cubicBezTo>
                  <a:cubicBezTo>
                    <a:pt x="10692" y="1434"/>
                    <a:pt x="10701" y="1425"/>
                    <a:pt x="10709" y="1415"/>
                  </a:cubicBezTo>
                  <a:cubicBezTo>
                    <a:pt x="10782" y="1328"/>
                    <a:pt x="10879" y="1275"/>
                    <a:pt x="10986" y="1244"/>
                  </a:cubicBezTo>
                  <a:cubicBezTo>
                    <a:pt x="11078" y="1217"/>
                    <a:pt x="11163" y="1175"/>
                    <a:pt x="11248" y="1132"/>
                  </a:cubicBezTo>
                  <a:cubicBezTo>
                    <a:pt x="11327" y="1092"/>
                    <a:pt x="11373" y="1025"/>
                    <a:pt x="11413" y="951"/>
                  </a:cubicBezTo>
                  <a:cubicBezTo>
                    <a:pt x="11434" y="912"/>
                    <a:pt x="11428" y="888"/>
                    <a:pt x="11398" y="855"/>
                  </a:cubicBezTo>
                  <a:cubicBezTo>
                    <a:pt x="11385" y="840"/>
                    <a:pt x="11368" y="834"/>
                    <a:pt x="11351" y="825"/>
                  </a:cubicBezTo>
                  <a:cubicBezTo>
                    <a:pt x="11314" y="805"/>
                    <a:pt x="11271" y="781"/>
                    <a:pt x="11264" y="741"/>
                  </a:cubicBezTo>
                  <a:cubicBezTo>
                    <a:pt x="11255" y="691"/>
                    <a:pt x="11224" y="684"/>
                    <a:pt x="11188" y="675"/>
                  </a:cubicBezTo>
                  <a:cubicBezTo>
                    <a:pt x="11159" y="668"/>
                    <a:pt x="11129" y="655"/>
                    <a:pt x="11094" y="678"/>
                  </a:cubicBezTo>
                  <a:cubicBezTo>
                    <a:pt x="11153" y="705"/>
                    <a:pt x="11191" y="745"/>
                    <a:pt x="11224" y="791"/>
                  </a:cubicBezTo>
                  <a:cubicBezTo>
                    <a:pt x="11247" y="825"/>
                    <a:pt x="11242" y="844"/>
                    <a:pt x="11203" y="857"/>
                  </a:cubicBezTo>
                  <a:cubicBezTo>
                    <a:pt x="11174" y="868"/>
                    <a:pt x="11142" y="873"/>
                    <a:pt x="11111" y="871"/>
                  </a:cubicBezTo>
                  <a:cubicBezTo>
                    <a:pt x="11080" y="870"/>
                    <a:pt x="11049" y="866"/>
                    <a:pt x="11018" y="863"/>
                  </a:cubicBezTo>
                  <a:close/>
                  <a:moveTo>
                    <a:pt x="15853" y="8751"/>
                  </a:moveTo>
                  <a:cubicBezTo>
                    <a:pt x="15873" y="8698"/>
                    <a:pt x="15873" y="8698"/>
                    <a:pt x="15922" y="8698"/>
                  </a:cubicBezTo>
                  <a:cubicBezTo>
                    <a:pt x="15967" y="8698"/>
                    <a:pt x="16009" y="8706"/>
                    <a:pt x="16046" y="8733"/>
                  </a:cubicBezTo>
                  <a:cubicBezTo>
                    <a:pt x="16056" y="8740"/>
                    <a:pt x="16067" y="8747"/>
                    <a:pt x="16079" y="8750"/>
                  </a:cubicBezTo>
                  <a:cubicBezTo>
                    <a:pt x="16100" y="8757"/>
                    <a:pt x="16116" y="8750"/>
                    <a:pt x="16118" y="8725"/>
                  </a:cubicBezTo>
                  <a:cubicBezTo>
                    <a:pt x="16119" y="8714"/>
                    <a:pt x="16118" y="8704"/>
                    <a:pt x="16118" y="8693"/>
                  </a:cubicBezTo>
                  <a:cubicBezTo>
                    <a:pt x="16120" y="8544"/>
                    <a:pt x="16074" y="8408"/>
                    <a:pt x="16009" y="8276"/>
                  </a:cubicBezTo>
                  <a:cubicBezTo>
                    <a:pt x="15971" y="8200"/>
                    <a:pt x="15918" y="8132"/>
                    <a:pt x="15890" y="8052"/>
                  </a:cubicBezTo>
                  <a:cubicBezTo>
                    <a:pt x="15869" y="7990"/>
                    <a:pt x="15823" y="7948"/>
                    <a:pt x="15784" y="7899"/>
                  </a:cubicBezTo>
                  <a:cubicBezTo>
                    <a:pt x="15765" y="7875"/>
                    <a:pt x="15744" y="7873"/>
                    <a:pt x="15720" y="7893"/>
                  </a:cubicBezTo>
                  <a:cubicBezTo>
                    <a:pt x="15690" y="7919"/>
                    <a:pt x="15657" y="7943"/>
                    <a:pt x="15617" y="7949"/>
                  </a:cubicBezTo>
                  <a:cubicBezTo>
                    <a:pt x="15566" y="7957"/>
                    <a:pt x="15521" y="7987"/>
                    <a:pt x="15468" y="7990"/>
                  </a:cubicBezTo>
                  <a:cubicBezTo>
                    <a:pt x="15451" y="7991"/>
                    <a:pt x="15433" y="8003"/>
                    <a:pt x="15418" y="8014"/>
                  </a:cubicBezTo>
                  <a:cubicBezTo>
                    <a:pt x="15394" y="8029"/>
                    <a:pt x="15390" y="8049"/>
                    <a:pt x="15409" y="8072"/>
                  </a:cubicBezTo>
                  <a:cubicBezTo>
                    <a:pt x="15437" y="8105"/>
                    <a:pt x="15468" y="8136"/>
                    <a:pt x="15498" y="8168"/>
                  </a:cubicBezTo>
                  <a:cubicBezTo>
                    <a:pt x="15505" y="8175"/>
                    <a:pt x="15516" y="8182"/>
                    <a:pt x="15525" y="8182"/>
                  </a:cubicBezTo>
                  <a:cubicBezTo>
                    <a:pt x="15607" y="8183"/>
                    <a:pt x="15647" y="8242"/>
                    <a:pt x="15692" y="8297"/>
                  </a:cubicBezTo>
                  <a:cubicBezTo>
                    <a:pt x="15719" y="8329"/>
                    <a:pt x="15721" y="8364"/>
                    <a:pt x="15721" y="8402"/>
                  </a:cubicBezTo>
                  <a:cubicBezTo>
                    <a:pt x="15720" y="8413"/>
                    <a:pt x="15720" y="8424"/>
                    <a:pt x="15710" y="8429"/>
                  </a:cubicBezTo>
                  <a:cubicBezTo>
                    <a:pt x="15695" y="8437"/>
                    <a:pt x="15687" y="8424"/>
                    <a:pt x="15679" y="8416"/>
                  </a:cubicBezTo>
                  <a:cubicBezTo>
                    <a:pt x="15661" y="8398"/>
                    <a:pt x="15644" y="8380"/>
                    <a:pt x="15624" y="8364"/>
                  </a:cubicBezTo>
                  <a:cubicBezTo>
                    <a:pt x="15602" y="8346"/>
                    <a:pt x="15580" y="8326"/>
                    <a:pt x="15552" y="8316"/>
                  </a:cubicBezTo>
                  <a:cubicBezTo>
                    <a:pt x="15540" y="8312"/>
                    <a:pt x="15528" y="8310"/>
                    <a:pt x="15517" y="8320"/>
                  </a:cubicBezTo>
                  <a:cubicBezTo>
                    <a:pt x="15505" y="8330"/>
                    <a:pt x="15507" y="8342"/>
                    <a:pt x="15512" y="8354"/>
                  </a:cubicBezTo>
                  <a:cubicBezTo>
                    <a:pt x="15522" y="8377"/>
                    <a:pt x="15533" y="8399"/>
                    <a:pt x="15541" y="8423"/>
                  </a:cubicBezTo>
                  <a:cubicBezTo>
                    <a:pt x="15567" y="8496"/>
                    <a:pt x="15566" y="8496"/>
                    <a:pt x="15641" y="8495"/>
                  </a:cubicBezTo>
                  <a:cubicBezTo>
                    <a:pt x="15737" y="8493"/>
                    <a:pt x="15797" y="8540"/>
                    <a:pt x="15818" y="8634"/>
                  </a:cubicBezTo>
                  <a:cubicBezTo>
                    <a:pt x="15823" y="8654"/>
                    <a:pt x="15825" y="8675"/>
                    <a:pt x="15828" y="8696"/>
                  </a:cubicBezTo>
                  <a:cubicBezTo>
                    <a:pt x="15831" y="8717"/>
                    <a:pt x="15835" y="8737"/>
                    <a:pt x="15855" y="8749"/>
                  </a:cubicBezTo>
                  <a:cubicBezTo>
                    <a:pt x="15854" y="8760"/>
                    <a:pt x="15851" y="8773"/>
                    <a:pt x="15838" y="8769"/>
                  </a:cubicBezTo>
                  <a:cubicBezTo>
                    <a:pt x="15824" y="8765"/>
                    <a:pt x="15813" y="8755"/>
                    <a:pt x="15799" y="8750"/>
                  </a:cubicBezTo>
                  <a:cubicBezTo>
                    <a:pt x="15746" y="8729"/>
                    <a:pt x="15697" y="8703"/>
                    <a:pt x="15676" y="8644"/>
                  </a:cubicBezTo>
                  <a:cubicBezTo>
                    <a:pt x="15672" y="8632"/>
                    <a:pt x="15663" y="8622"/>
                    <a:pt x="15655" y="8613"/>
                  </a:cubicBezTo>
                  <a:cubicBezTo>
                    <a:pt x="15649" y="8608"/>
                    <a:pt x="15640" y="8607"/>
                    <a:pt x="15632" y="8611"/>
                  </a:cubicBezTo>
                  <a:cubicBezTo>
                    <a:pt x="15623" y="8615"/>
                    <a:pt x="15620" y="8623"/>
                    <a:pt x="15621" y="8631"/>
                  </a:cubicBezTo>
                  <a:cubicBezTo>
                    <a:pt x="15626" y="8658"/>
                    <a:pt x="15635" y="8683"/>
                    <a:pt x="15646" y="8708"/>
                  </a:cubicBezTo>
                  <a:cubicBezTo>
                    <a:pt x="15678" y="8778"/>
                    <a:pt x="15698" y="8849"/>
                    <a:pt x="15657" y="8923"/>
                  </a:cubicBezTo>
                  <a:cubicBezTo>
                    <a:pt x="15644" y="8948"/>
                    <a:pt x="15631" y="8975"/>
                    <a:pt x="15623" y="9003"/>
                  </a:cubicBezTo>
                  <a:cubicBezTo>
                    <a:pt x="15618" y="9018"/>
                    <a:pt x="15607" y="9033"/>
                    <a:pt x="15586" y="9029"/>
                  </a:cubicBezTo>
                  <a:cubicBezTo>
                    <a:pt x="15575" y="9016"/>
                    <a:pt x="15580" y="9001"/>
                    <a:pt x="15580" y="8987"/>
                  </a:cubicBezTo>
                  <a:cubicBezTo>
                    <a:pt x="15580" y="8959"/>
                    <a:pt x="15575" y="8932"/>
                    <a:pt x="15557" y="8911"/>
                  </a:cubicBezTo>
                  <a:cubicBezTo>
                    <a:pt x="15519" y="8864"/>
                    <a:pt x="15523" y="8815"/>
                    <a:pt x="15543" y="8764"/>
                  </a:cubicBezTo>
                  <a:cubicBezTo>
                    <a:pt x="15550" y="8746"/>
                    <a:pt x="15559" y="8730"/>
                    <a:pt x="15564" y="8712"/>
                  </a:cubicBezTo>
                  <a:cubicBezTo>
                    <a:pt x="15573" y="8683"/>
                    <a:pt x="15574" y="8654"/>
                    <a:pt x="15560" y="8626"/>
                  </a:cubicBezTo>
                  <a:cubicBezTo>
                    <a:pt x="15550" y="8606"/>
                    <a:pt x="15524" y="8604"/>
                    <a:pt x="15517" y="8624"/>
                  </a:cubicBezTo>
                  <a:cubicBezTo>
                    <a:pt x="15495" y="8687"/>
                    <a:pt x="15438" y="8690"/>
                    <a:pt x="15386" y="8709"/>
                  </a:cubicBezTo>
                  <a:cubicBezTo>
                    <a:pt x="15371" y="8669"/>
                    <a:pt x="15378" y="8634"/>
                    <a:pt x="15397" y="8600"/>
                  </a:cubicBezTo>
                  <a:cubicBezTo>
                    <a:pt x="15415" y="8569"/>
                    <a:pt x="15434" y="8539"/>
                    <a:pt x="15452" y="8509"/>
                  </a:cubicBezTo>
                  <a:cubicBezTo>
                    <a:pt x="15479" y="8466"/>
                    <a:pt x="15475" y="8384"/>
                    <a:pt x="15444" y="8344"/>
                  </a:cubicBezTo>
                  <a:cubicBezTo>
                    <a:pt x="15437" y="8336"/>
                    <a:pt x="15430" y="8328"/>
                    <a:pt x="15418" y="8329"/>
                  </a:cubicBezTo>
                  <a:cubicBezTo>
                    <a:pt x="15405" y="8331"/>
                    <a:pt x="15404" y="8343"/>
                    <a:pt x="15403" y="8353"/>
                  </a:cubicBezTo>
                  <a:cubicBezTo>
                    <a:pt x="15401" y="8380"/>
                    <a:pt x="15392" y="8405"/>
                    <a:pt x="15377" y="8429"/>
                  </a:cubicBezTo>
                  <a:cubicBezTo>
                    <a:pt x="15342" y="8481"/>
                    <a:pt x="15291" y="8495"/>
                    <a:pt x="15231" y="8499"/>
                  </a:cubicBezTo>
                  <a:cubicBezTo>
                    <a:pt x="15167" y="8502"/>
                    <a:pt x="15157" y="8491"/>
                    <a:pt x="15182" y="8433"/>
                  </a:cubicBezTo>
                  <a:cubicBezTo>
                    <a:pt x="15187" y="8420"/>
                    <a:pt x="15197" y="8408"/>
                    <a:pt x="15205" y="8396"/>
                  </a:cubicBezTo>
                  <a:cubicBezTo>
                    <a:pt x="15244" y="8336"/>
                    <a:pt x="15300" y="8292"/>
                    <a:pt x="15350" y="8242"/>
                  </a:cubicBezTo>
                  <a:cubicBezTo>
                    <a:pt x="15379" y="8212"/>
                    <a:pt x="15382" y="8176"/>
                    <a:pt x="15356" y="8148"/>
                  </a:cubicBezTo>
                  <a:cubicBezTo>
                    <a:pt x="15322" y="8111"/>
                    <a:pt x="15256" y="8101"/>
                    <a:pt x="15214" y="8130"/>
                  </a:cubicBezTo>
                  <a:cubicBezTo>
                    <a:pt x="15173" y="8159"/>
                    <a:pt x="15135" y="8192"/>
                    <a:pt x="15097" y="8223"/>
                  </a:cubicBezTo>
                  <a:cubicBezTo>
                    <a:pt x="15045" y="8265"/>
                    <a:pt x="14990" y="8292"/>
                    <a:pt x="14921" y="8289"/>
                  </a:cubicBezTo>
                  <a:cubicBezTo>
                    <a:pt x="14814" y="8285"/>
                    <a:pt x="14719" y="8314"/>
                    <a:pt x="14641" y="8390"/>
                  </a:cubicBezTo>
                  <a:cubicBezTo>
                    <a:pt x="14592" y="8438"/>
                    <a:pt x="14545" y="8490"/>
                    <a:pt x="14521" y="8555"/>
                  </a:cubicBezTo>
                  <a:cubicBezTo>
                    <a:pt x="14476" y="8672"/>
                    <a:pt x="14464" y="8797"/>
                    <a:pt x="14458" y="8922"/>
                  </a:cubicBezTo>
                  <a:cubicBezTo>
                    <a:pt x="14456" y="8959"/>
                    <a:pt x="14476" y="8970"/>
                    <a:pt x="14510" y="8954"/>
                  </a:cubicBezTo>
                  <a:cubicBezTo>
                    <a:pt x="14546" y="8936"/>
                    <a:pt x="14556" y="8900"/>
                    <a:pt x="14564" y="8866"/>
                  </a:cubicBezTo>
                  <a:cubicBezTo>
                    <a:pt x="14577" y="8812"/>
                    <a:pt x="14615" y="8777"/>
                    <a:pt x="14655" y="8743"/>
                  </a:cubicBezTo>
                  <a:cubicBezTo>
                    <a:pt x="14672" y="8728"/>
                    <a:pt x="14686" y="8734"/>
                    <a:pt x="14690" y="8756"/>
                  </a:cubicBezTo>
                  <a:cubicBezTo>
                    <a:pt x="14693" y="8768"/>
                    <a:pt x="14690" y="8782"/>
                    <a:pt x="14693" y="8793"/>
                  </a:cubicBezTo>
                  <a:cubicBezTo>
                    <a:pt x="14705" y="8838"/>
                    <a:pt x="14703" y="8886"/>
                    <a:pt x="14733" y="8943"/>
                  </a:cubicBezTo>
                  <a:cubicBezTo>
                    <a:pt x="14757" y="8845"/>
                    <a:pt x="14814" y="8790"/>
                    <a:pt x="14887" y="8750"/>
                  </a:cubicBezTo>
                  <a:cubicBezTo>
                    <a:pt x="14899" y="8744"/>
                    <a:pt x="14904" y="8733"/>
                    <a:pt x="14906" y="8720"/>
                  </a:cubicBezTo>
                  <a:cubicBezTo>
                    <a:pt x="14909" y="8697"/>
                    <a:pt x="14915" y="8674"/>
                    <a:pt x="14916" y="8652"/>
                  </a:cubicBezTo>
                  <a:cubicBezTo>
                    <a:pt x="14918" y="8551"/>
                    <a:pt x="14971" y="8480"/>
                    <a:pt x="15049" y="8424"/>
                  </a:cubicBezTo>
                  <a:cubicBezTo>
                    <a:pt x="15059" y="8416"/>
                    <a:pt x="15070" y="8410"/>
                    <a:pt x="15081" y="8405"/>
                  </a:cubicBezTo>
                  <a:cubicBezTo>
                    <a:pt x="15107" y="8395"/>
                    <a:pt x="15123" y="8402"/>
                    <a:pt x="15126" y="8429"/>
                  </a:cubicBezTo>
                  <a:cubicBezTo>
                    <a:pt x="15129" y="8462"/>
                    <a:pt x="15127" y="8496"/>
                    <a:pt x="15131" y="8529"/>
                  </a:cubicBezTo>
                  <a:cubicBezTo>
                    <a:pt x="15136" y="8579"/>
                    <a:pt x="15116" y="8618"/>
                    <a:pt x="15079" y="8650"/>
                  </a:cubicBezTo>
                  <a:cubicBezTo>
                    <a:pt x="15069" y="8659"/>
                    <a:pt x="15051" y="8667"/>
                    <a:pt x="15057" y="8684"/>
                  </a:cubicBezTo>
                  <a:cubicBezTo>
                    <a:pt x="15064" y="8703"/>
                    <a:pt x="15084" y="8701"/>
                    <a:pt x="15100" y="8702"/>
                  </a:cubicBezTo>
                  <a:cubicBezTo>
                    <a:pt x="15119" y="8703"/>
                    <a:pt x="15138" y="8700"/>
                    <a:pt x="15156" y="8700"/>
                  </a:cubicBezTo>
                  <a:cubicBezTo>
                    <a:pt x="15181" y="8699"/>
                    <a:pt x="15207" y="8696"/>
                    <a:pt x="15231" y="8699"/>
                  </a:cubicBezTo>
                  <a:cubicBezTo>
                    <a:pt x="15338" y="8710"/>
                    <a:pt x="15400" y="8776"/>
                    <a:pt x="15405" y="8884"/>
                  </a:cubicBezTo>
                  <a:cubicBezTo>
                    <a:pt x="15406" y="8906"/>
                    <a:pt x="15407" y="8929"/>
                    <a:pt x="15409" y="8952"/>
                  </a:cubicBezTo>
                  <a:cubicBezTo>
                    <a:pt x="15410" y="8965"/>
                    <a:pt x="15410" y="8977"/>
                    <a:pt x="15397" y="8985"/>
                  </a:cubicBezTo>
                  <a:cubicBezTo>
                    <a:pt x="15383" y="8992"/>
                    <a:pt x="15373" y="8982"/>
                    <a:pt x="15364" y="8974"/>
                  </a:cubicBezTo>
                  <a:cubicBezTo>
                    <a:pt x="15308" y="8928"/>
                    <a:pt x="15247" y="8888"/>
                    <a:pt x="15210" y="8822"/>
                  </a:cubicBezTo>
                  <a:cubicBezTo>
                    <a:pt x="15193" y="8791"/>
                    <a:pt x="15169" y="8763"/>
                    <a:pt x="15128" y="8762"/>
                  </a:cubicBezTo>
                  <a:cubicBezTo>
                    <a:pt x="15108" y="8762"/>
                    <a:pt x="15082" y="8754"/>
                    <a:pt x="15073" y="8778"/>
                  </a:cubicBezTo>
                  <a:cubicBezTo>
                    <a:pt x="15063" y="8802"/>
                    <a:pt x="15088" y="8807"/>
                    <a:pt x="15103" y="8818"/>
                  </a:cubicBezTo>
                  <a:cubicBezTo>
                    <a:pt x="15158" y="8861"/>
                    <a:pt x="15169" y="8932"/>
                    <a:pt x="15126" y="9000"/>
                  </a:cubicBezTo>
                  <a:cubicBezTo>
                    <a:pt x="15107" y="8927"/>
                    <a:pt x="15044" y="8902"/>
                    <a:pt x="14997" y="8860"/>
                  </a:cubicBezTo>
                  <a:cubicBezTo>
                    <a:pt x="14974" y="8837"/>
                    <a:pt x="14946" y="8831"/>
                    <a:pt x="14917" y="8839"/>
                  </a:cubicBezTo>
                  <a:cubicBezTo>
                    <a:pt x="14875" y="8851"/>
                    <a:pt x="14842" y="8877"/>
                    <a:pt x="14818" y="8912"/>
                  </a:cubicBezTo>
                  <a:cubicBezTo>
                    <a:pt x="14809" y="8927"/>
                    <a:pt x="14804" y="8947"/>
                    <a:pt x="14801" y="8965"/>
                  </a:cubicBezTo>
                  <a:cubicBezTo>
                    <a:pt x="14798" y="8987"/>
                    <a:pt x="14813" y="8996"/>
                    <a:pt x="14832" y="8987"/>
                  </a:cubicBezTo>
                  <a:cubicBezTo>
                    <a:pt x="14838" y="8984"/>
                    <a:pt x="14842" y="8979"/>
                    <a:pt x="14847" y="8976"/>
                  </a:cubicBezTo>
                  <a:cubicBezTo>
                    <a:pt x="14897" y="8939"/>
                    <a:pt x="14952" y="8940"/>
                    <a:pt x="15008" y="8955"/>
                  </a:cubicBezTo>
                  <a:cubicBezTo>
                    <a:pt x="15033" y="8962"/>
                    <a:pt x="15039" y="8978"/>
                    <a:pt x="15019" y="8996"/>
                  </a:cubicBezTo>
                  <a:cubicBezTo>
                    <a:pt x="14964" y="9047"/>
                    <a:pt x="14912" y="9102"/>
                    <a:pt x="14832" y="9124"/>
                  </a:cubicBezTo>
                  <a:cubicBezTo>
                    <a:pt x="14720" y="9154"/>
                    <a:pt x="14672" y="9310"/>
                    <a:pt x="14738" y="9406"/>
                  </a:cubicBezTo>
                  <a:cubicBezTo>
                    <a:pt x="14758" y="9436"/>
                    <a:pt x="14776" y="9438"/>
                    <a:pt x="14802" y="9412"/>
                  </a:cubicBezTo>
                  <a:cubicBezTo>
                    <a:pt x="14817" y="9397"/>
                    <a:pt x="14825" y="9378"/>
                    <a:pt x="14826" y="9356"/>
                  </a:cubicBezTo>
                  <a:cubicBezTo>
                    <a:pt x="14826" y="9333"/>
                    <a:pt x="14826" y="9310"/>
                    <a:pt x="14831" y="9288"/>
                  </a:cubicBezTo>
                  <a:cubicBezTo>
                    <a:pt x="14842" y="9228"/>
                    <a:pt x="14881" y="9189"/>
                    <a:pt x="14931" y="9159"/>
                  </a:cubicBezTo>
                  <a:cubicBezTo>
                    <a:pt x="14940" y="9154"/>
                    <a:pt x="14950" y="9151"/>
                    <a:pt x="14960" y="9158"/>
                  </a:cubicBezTo>
                  <a:cubicBezTo>
                    <a:pt x="14971" y="9166"/>
                    <a:pt x="14968" y="9176"/>
                    <a:pt x="14964" y="9186"/>
                  </a:cubicBezTo>
                  <a:cubicBezTo>
                    <a:pt x="14957" y="9201"/>
                    <a:pt x="14951" y="9217"/>
                    <a:pt x="14945" y="9232"/>
                  </a:cubicBezTo>
                  <a:cubicBezTo>
                    <a:pt x="14929" y="9271"/>
                    <a:pt x="14927" y="9313"/>
                    <a:pt x="14921" y="9354"/>
                  </a:cubicBezTo>
                  <a:cubicBezTo>
                    <a:pt x="14919" y="9367"/>
                    <a:pt x="14925" y="9379"/>
                    <a:pt x="14939" y="9384"/>
                  </a:cubicBezTo>
                  <a:cubicBezTo>
                    <a:pt x="14952" y="9388"/>
                    <a:pt x="14963" y="9384"/>
                    <a:pt x="14972" y="9373"/>
                  </a:cubicBezTo>
                  <a:cubicBezTo>
                    <a:pt x="15006" y="9326"/>
                    <a:pt x="15044" y="9281"/>
                    <a:pt x="15024" y="9214"/>
                  </a:cubicBezTo>
                  <a:cubicBezTo>
                    <a:pt x="15011" y="9169"/>
                    <a:pt x="15027" y="9124"/>
                    <a:pt x="15038" y="9079"/>
                  </a:cubicBezTo>
                  <a:cubicBezTo>
                    <a:pt x="15043" y="9056"/>
                    <a:pt x="15058" y="9037"/>
                    <a:pt x="15076" y="9023"/>
                  </a:cubicBezTo>
                  <a:cubicBezTo>
                    <a:pt x="15088" y="9014"/>
                    <a:pt x="15104" y="9011"/>
                    <a:pt x="15111" y="9031"/>
                  </a:cubicBezTo>
                  <a:cubicBezTo>
                    <a:pt x="15131" y="9085"/>
                    <a:pt x="15176" y="9136"/>
                    <a:pt x="15139" y="9201"/>
                  </a:cubicBezTo>
                  <a:cubicBezTo>
                    <a:pt x="15132" y="9212"/>
                    <a:pt x="15133" y="9225"/>
                    <a:pt x="15146" y="9234"/>
                  </a:cubicBezTo>
                  <a:cubicBezTo>
                    <a:pt x="15157" y="9240"/>
                    <a:pt x="15166" y="9234"/>
                    <a:pt x="15174" y="9227"/>
                  </a:cubicBezTo>
                  <a:cubicBezTo>
                    <a:pt x="15207" y="9196"/>
                    <a:pt x="15242" y="9166"/>
                    <a:pt x="15274" y="9134"/>
                  </a:cubicBezTo>
                  <a:cubicBezTo>
                    <a:pt x="15369" y="9041"/>
                    <a:pt x="15370" y="9065"/>
                    <a:pt x="15464" y="9104"/>
                  </a:cubicBezTo>
                  <a:cubicBezTo>
                    <a:pt x="15473" y="9108"/>
                    <a:pt x="15484" y="9112"/>
                    <a:pt x="15491" y="9119"/>
                  </a:cubicBezTo>
                  <a:cubicBezTo>
                    <a:pt x="15521" y="9150"/>
                    <a:pt x="15572" y="9152"/>
                    <a:pt x="15595" y="9198"/>
                  </a:cubicBezTo>
                  <a:cubicBezTo>
                    <a:pt x="15559" y="9223"/>
                    <a:pt x="15520" y="9237"/>
                    <a:pt x="15490" y="9266"/>
                  </a:cubicBezTo>
                  <a:cubicBezTo>
                    <a:pt x="15480" y="9275"/>
                    <a:pt x="15467" y="9274"/>
                    <a:pt x="15454" y="9270"/>
                  </a:cubicBezTo>
                  <a:cubicBezTo>
                    <a:pt x="15417" y="9260"/>
                    <a:pt x="15377" y="9259"/>
                    <a:pt x="15339" y="9245"/>
                  </a:cubicBezTo>
                  <a:cubicBezTo>
                    <a:pt x="15297" y="9228"/>
                    <a:pt x="15253" y="9237"/>
                    <a:pt x="15215" y="9265"/>
                  </a:cubicBezTo>
                  <a:cubicBezTo>
                    <a:pt x="15203" y="9274"/>
                    <a:pt x="15192" y="9287"/>
                    <a:pt x="15199" y="9302"/>
                  </a:cubicBezTo>
                  <a:cubicBezTo>
                    <a:pt x="15205" y="9316"/>
                    <a:pt x="15221" y="9312"/>
                    <a:pt x="15233" y="9310"/>
                  </a:cubicBezTo>
                  <a:cubicBezTo>
                    <a:pt x="15291" y="9302"/>
                    <a:pt x="15338" y="9326"/>
                    <a:pt x="15386" y="9354"/>
                  </a:cubicBezTo>
                  <a:cubicBezTo>
                    <a:pt x="15399" y="9362"/>
                    <a:pt x="15410" y="9371"/>
                    <a:pt x="15406" y="9388"/>
                  </a:cubicBezTo>
                  <a:cubicBezTo>
                    <a:pt x="15403" y="9402"/>
                    <a:pt x="15389" y="9405"/>
                    <a:pt x="15377" y="9408"/>
                  </a:cubicBezTo>
                  <a:cubicBezTo>
                    <a:pt x="15303" y="9428"/>
                    <a:pt x="15230" y="9426"/>
                    <a:pt x="15158" y="9396"/>
                  </a:cubicBezTo>
                  <a:cubicBezTo>
                    <a:pt x="15090" y="9368"/>
                    <a:pt x="15057" y="9377"/>
                    <a:pt x="15008" y="9429"/>
                  </a:cubicBezTo>
                  <a:cubicBezTo>
                    <a:pt x="14974" y="9465"/>
                    <a:pt x="14979" y="9487"/>
                    <a:pt x="15026" y="9497"/>
                  </a:cubicBezTo>
                  <a:cubicBezTo>
                    <a:pt x="15140" y="9523"/>
                    <a:pt x="15171" y="9595"/>
                    <a:pt x="15176" y="9668"/>
                  </a:cubicBezTo>
                  <a:cubicBezTo>
                    <a:pt x="15178" y="9701"/>
                    <a:pt x="15168" y="9707"/>
                    <a:pt x="15135" y="9696"/>
                  </a:cubicBezTo>
                  <a:cubicBezTo>
                    <a:pt x="15065" y="9671"/>
                    <a:pt x="15016" y="9621"/>
                    <a:pt x="14975" y="9562"/>
                  </a:cubicBezTo>
                  <a:cubicBezTo>
                    <a:pt x="14960" y="9541"/>
                    <a:pt x="14942" y="9525"/>
                    <a:pt x="14918" y="9516"/>
                  </a:cubicBezTo>
                  <a:cubicBezTo>
                    <a:pt x="14886" y="9504"/>
                    <a:pt x="14855" y="9509"/>
                    <a:pt x="14829" y="9530"/>
                  </a:cubicBezTo>
                  <a:cubicBezTo>
                    <a:pt x="14803" y="9551"/>
                    <a:pt x="14809" y="9581"/>
                    <a:pt x="14819" y="9610"/>
                  </a:cubicBezTo>
                  <a:cubicBezTo>
                    <a:pt x="14825" y="9630"/>
                    <a:pt x="14835" y="9648"/>
                    <a:pt x="14848" y="9664"/>
                  </a:cubicBezTo>
                  <a:cubicBezTo>
                    <a:pt x="14883" y="9704"/>
                    <a:pt x="14923" y="9736"/>
                    <a:pt x="14965" y="9766"/>
                  </a:cubicBezTo>
                  <a:cubicBezTo>
                    <a:pt x="14986" y="9780"/>
                    <a:pt x="15003" y="9783"/>
                    <a:pt x="15023" y="9773"/>
                  </a:cubicBezTo>
                  <a:cubicBezTo>
                    <a:pt x="15086" y="9743"/>
                    <a:pt x="15140" y="9755"/>
                    <a:pt x="15186" y="9806"/>
                  </a:cubicBezTo>
                  <a:cubicBezTo>
                    <a:pt x="15196" y="9816"/>
                    <a:pt x="15208" y="9829"/>
                    <a:pt x="15224" y="9822"/>
                  </a:cubicBezTo>
                  <a:cubicBezTo>
                    <a:pt x="15242" y="9815"/>
                    <a:pt x="15242" y="9796"/>
                    <a:pt x="15242" y="9779"/>
                  </a:cubicBezTo>
                  <a:cubicBezTo>
                    <a:pt x="15242" y="9750"/>
                    <a:pt x="15241" y="9721"/>
                    <a:pt x="15243" y="9692"/>
                  </a:cubicBezTo>
                  <a:cubicBezTo>
                    <a:pt x="15246" y="9645"/>
                    <a:pt x="15280" y="9610"/>
                    <a:pt x="15324" y="9601"/>
                  </a:cubicBezTo>
                  <a:cubicBezTo>
                    <a:pt x="15341" y="9598"/>
                    <a:pt x="15357" y="9603"/>
                    <a:pt x="15359" y="9619"/>
                  </a:cubicBezTo>
                  <a:cubicBezTo>
                    <a:pt x="15366" y="9670"/>
                    <a:pt x="15384" y="9725"/>
                    <a:pt x="15356" y="9771"/>
                  </a:cubicBezTo>
                  <a:cubicBezTo>
                    <a:pt x="15332" y="9812"/>
                    <a:pt x="15313" y="9855"/>
                    <a:pt x="15293" y="9898"/>
                  </a:cubicBezTo>
                  <a:cubicBezTo>
                    <a:pt x="15251" y="9990"/>
                    <a:pt x="15216" y="10085"/>
                    <a:pt x="15171" y="10177"/>
                  </a:cubicBezTo>
                  <a:cubicBezTo>
                    <a:pt x="15118" y="10283"/>
                    <a:pt x="15089" y="10399"/>
                    <a:pt x="15061" y="10514"/>
                  </a:cubicBezTo>
                  <a:cubicBezTo>
                    <a:pt x="15046" y="10577"/>
                    <a:pt x="15030" y="10641"/>
                    <a:pt x="15041" y="10710"/>
                  </a:cubicBezTo>
                  <a:cubicBezTo>
                    <a:pt x="15054" y="10796"/>
                    <a:pt x="15049" y="10883"/>
                    <a:pt x="15017" y="10966"/>
                  </a:cubicBezTo>
                  <a:cubicBezTo>
                    <a:pt x="15014" y="10974"/>
                    <a:pt x="15014" y="10983"/>
                    <a:pt x="15011" y="10991"/>
                  </a:cubicBezTo>
                  <a:cubicBezTo>
                    <a:pt x="14997" y="11031"/>
                    <a:pt x="15011" y="11064"/>
                    <a:pt x="15039" y="11093"/>
                  </a:cubicBezTo>
                  <a:cubicBezTo>
                    <a:pt x="15102" y="11157"/>
                    <a:pt x="15178" y="11199"/>
                    <a:pt x="15265" y="11219"/>
                  </a:cubicBezTo>
                  <a:cubicBezTo>
                    <a:pt x="15310" y="11229"/>
                    <a:pt x="15362" y="11239"/>
                    <a:pt x="15404" y="11209"/>
                  </a:cubicBezTo>
                  <a:cubicBezTo>
                    <a:pt x="15461" y="11169"/>
                    <a:pt x="15522" y="11132"/>
                    <a:pt x="15561" y="11070"/>
                  </a:cubicBezTo>
                  <a:cubicBezTo>
                    <a:pt x="15579" y="11042"/>
                    <a:pt x="15585" y="11008"/>
                    <a:pt x="15608" y="10983"/>
                  </a:cubicBezTo>
                  <a:cubicBezTo>
                    <a:pt x="15624" y="10964"/>
                    <a:pt x="15628" y="10943"/>
                    <a:pt x="15624" y="10918"/>
                  </a:cubicBezTo>
                  <a:cubicBezTo>
                    <a:pt x="15621" y="10902"/>
                    <a:pt x="15618" y="10884"/>
                    <a:pt x="15622" y="10869"/>
                  </a:cubicBezTo>
                  <a:cubicBezTo>
                    <a:pt x="15634" y="10826"/>
                    <a:pt x="15620" y="10790"/>
                    <a:pt x="15598" y="10757"/>
                  </a:cubicBezTo>
                  <a:cubicBezTo>
                    <a:pt x="15583" y="10734"/>
                    <a:pt x="15579" y="10711"/>
                    <a:pt x="15580" y="10686"/>
                  </a:cubicBezTo>
                  <a:cubicBezTo>
                    <a:pt x="15582" y="10597"/>
                    <a:pt x="15611" y="10515"/>
                    <a:pt x="15649" y="10436"/>
                  </a:cubicBezTo>
                  <a:cubicBezTo>
                    <a:pt x="15690" y="10351"/>
                    <a:pt x="15670" y="10276"/>
                    <a:pt x="15580" y="10254"/>
                  </a:cubicBezTo>
                  <a:cubicBezTo>
                    <a:pt x="15507" y="10236"/>
                    <a:pt x="15479" y="10179"/>
                    <a:pt x="15437" y="10133"/>
                  </a:cubicBezTo>
                  <a:cubicBezTo>
                    <a:pt x="15423" y="10118"/>
                    <a:pt x="15418" y="10093"/>
                    <a:pt x="15438" y="10076"/>
                  </a:cubicBezTo>
                  <a:cubicBezTo>
                    <a:pt x="15491" y="10033"/>
                    <a:pt x="15600" y="10059"/>
                    <a:pt x="15627" y="10123"/>
                  </a:cubicBezTo>
                  <a:cubicBezTo>
                    <a:pt x="15635" y="10143"/>
                    <a:pt x="15643" y="10161"/>
                    <a:pt x="15654" y="10179"/>
                  </a:cubicBezTo>
                  <a:cubicBezTo>
                    <a:pt x="15667" y="10201"/>
                    <a:pt x="15682" y="10202"/>
                    <a:pt x="15697" y="10182"/>
                  </a:cubicBezTo>
                  <a:cubicBezTo>
                    <a:pt x="15712" y="10162"/>
                    <a:pt x="15723" y="10139"/>
                    <a:pt x="15737" y="10119"/>
                  </a:cubicBezTo>
                  <a:cubicBezTo>
                    <a:pt x="15753" y="10096"/>
                    <a:pt x="15758" y="10075"/>
                    <a:pt x="15742" y="10050"/>
                  </a:cubicBezTo>
                  <a:cubicBezTo>
                    <a:pt x="15730" y="10033"/>
                    <a:pt x="15723" y="10013"/>
                    <a:pt x="15721" y="9991"/>
                  </a:cubicBezTo>
                  <a:cubicBezTo>
                    <a:pt x="15717" y="9932"/>
                    <a:pt x="15749" y="9888"/>
                    <a:pt x="15780" y="9844"/>
                  </a:cubicBezTo>
                  <a:cubicBezTo>
                    <a:pt x="15788" y="9831"/>
                    <a:pt x="15802" y="9834"/>
                    <a:pt x="15814" y="9840"/>
                  </a:cubicBezTo>
                  <a:cubicBezTo>
                    <a:pt x="15857" y="9860"/>
                    <a:pt x="15881" y="9910"/>
                    <a:pt x="15870" y="9959"/>
                  </a:cubicBezTo>
                  <a:cubicBezTo>
                    <a:pt x="15860" y="10006"/>
                    <a:pt x="15867" y="10014"/>
                    <a:pt x="15910" y="10001"/>
                  </a:cubicBezTo>
                  <a:cubicBezTo>
                    <a:pt x="15937" y="9993"/>
                    <a:pt x="15963" y="9987"/>
                    <a:pt x="15990" y="9986"/>
                  </a:cubicBezTo>
                  <a:cubicBezTo>
                    <a:pt x="16012" y="9985"/>
                    <a:pt x="16029" y="9976"/>
                    <a:pt x="16047" y="9964"/>
                  </a:cubicBezTo>
                  <a:cubicBezTo>
                    <a:pt x="16120" y="9911"/>
                    <a:pt x="16180" y="9911"/>
                    <a:pt x="16252" y="9961"/>
                  </a:cubicBezTo>
                  <a:cubicBezTo>
                    <a:pt x="16278" y="9979"/>
                    <a:pt x="16282" y="9995"/>
                    <a:pt x="16262" y="10017"/>
                  </a:cubicBezTo>
                  <a:cubicBezTo>
                    <a:pt x="16213" y="10073"/>
                    <a:pt x="16157" y="10113"/>
                    <a:pt x="16077" y="10091"/>
                  </a:cubicBezTo>
                  <a:cubicBezTo>
                    <a:pt x="16059" y="10086"/>
                    <a:pt x="16040" y="10085"/>
                    <a:pt x="16021" y="10084"/>
                  </a:cubicBezTo>
                  <a:cubicBezTo>
                    <a:pt x="16011" y="10083"/>
                    <a:pt x="16000" y="10086"/>
                    <a:pt x="15996" y="10098"/>
                  </a:cubicBezTo>
                  <a:cubicBezTo>
                    <a:pt x="15993" y="10110"/>
                    <a:pt x="15999" y="10118"/>
                    <a:pt x="16009" y="10123"/>
                  </a:cubicBezTo>
                  <a:cubicBezTo>
                    <a:pt x="16045" y="10143"/>
                    <a:pt x="16069" y="10174"/>
                    <a:pt x="16090" y="10208"/>
                  </a:cubicBezTo>
                  <a:cubicBezTo>
                    <a:pt x="16100" y="10222"/>
                    <a:pt x="16101" y="10235"/>
                    <a:pt x="16085" y="10245"/>
                  </a:cubicBezTo>
                  <a:cubicBezTo>
                    <a:pt x="16044" y="10269"/>
                    <a:pt x="15997" y="10275"/>
                    <a:pt x="15953" y="10277"/>
                  </a:cubicBezTo>
                  <a:cubicBezTo>
                    <a:pt x="15921" y="10278"/>
                    <a:pt x="15892" y="10246"/>
                    <a:pt x="15869" y="10218"/>
                  </a:cubicBezTo>
                  <a:cubicBezTo>
                    <a:pt x="15863" y="10212"/>
                    <a:pt x="15861" y="10203"/>
                    <a:pt x="15855" y="10197"/>
                  </a:cubicBezTo>
                  <a:cubicBezTo>
                    <a:pt x="15836" y="10175"/>
                    <a:pt x="15814" y="10179"/>
                    <a:pt x="15801" y="10204"/>
                  </a:cubicBezTo>
                  <a:cubicBezTo>
                    <a:pt x="15782" y="10243"/>
                    <a:pt x="15794" y="10274"/>
                    <a:pt x="15844" y="10289"/>
                  </a:cubicBezTo>
                  <a:cubicBezTo>
                    <a:pt x="15888" y="10302"/>
                    <a:pt x="15916" y="10327"/>
                    <a:pt x="15937" y="10365"/>
                  </a:cubicBezTo>
                  <a:cubicBezTo>
                    <a:pt x="15944" y="10378"/>
                    <a:pt x="15953" y="10389"/>
                    <a:pt x="15961" y="10402"/>
                  </a:cubicBezTo>
                  <a:cubicBezTo>
                    <a:pt x="15992" y="10447"/>
                    <a:pt x="15985" y="10462"/>
                    <a:pt x="15931" y="10471"/>
                  </a:cubicBezTo>
                  <a:cubicBezTo>
                    <a:pt x="15917" y="10474"/>
                    <a:pt x="15903" y="10472"/>
                    <a:pt x="15888" y="10468"/>
                  </a:cubicBezTo>
                  <a:cubicBezTo>
                    <a:pt x="15851" y="10459"/>
                    <a:pt x="15828" y="10434"/>
                    <a:pt x="15805" y="10407"/>
                  </a:cubicBezTo>
                  <a:cubicBezTo>
                    <a:pt x="15782" y="10380"/>
                    <a:pt x="15764" y="10383"/>
                    <a:pt x="15747" y="10412"/>
                  </a:cubicBezTo>
                  <a:cubicBezTo>
                    <a:pt x="15743" y="10419"/>
                    <a:pt x="15740" y="10428"/>
                    <a:pt x="15737" y="10435"/>
                  </a:cubicBezTo>
                  <a:cubicBezTo>
                    <a:pt x="15708" y="10503"/>
                    <a:pt x="15697" y="10575"/>
                    <a:pt x="15684" y="10646"/>
                  </a:cubicBezTo>
                  <a:cubicBezTo>
                    <a:pt x="15672" y="10710"/>
                    <a:pt x="15696" y="10770"/>
                    <a:pt x="15710" y="10830"/>
                  </a:cubicBezTo>
                  <a:cubicBezTo>
                    <a:pt x="15717" y="10858"/>
                    <a:pt x="15738" y="10863"/>
                    <a:pt x="15756" y="10841"/>
                  </a:cubicBezTo>
                  <a:cubicBezTo>
                    <a:pt x="15775" y="10818"/>
                    <a:pt x="15802" y="10806"/>
                    <a:pt x="15823" y="10786"/>
                  </a:cubicBezTo>
                  <a:cubicBezTo>
                    <a:pt x="15851" y="10761"/>
                    <a:pt x="15886" y="10747"/>
                    <a:pt x="15913" y="10720"/>
                  </a:cubicBezTo>
                  <a:cubicBezTo>
                    <a:pt x="16017" y="10615"/>
                    <a:pt x="16125" y="10515"/>
                    <a:pt x="16220" y="10401"/>
                  </a:cubicBezTo>
                  <a:cubicBezTo>
                    <a:pt x="16281" y="10328"/>
                    <a:pt x="16346" y="10261"/>
                    <a:pt x="16352" y="10155"/>
                  </a:cubicBezTo>
                  <a:cubicBezTo>
                    <a:pt x="16356" y="10085"/>
                    <a:pt x="16375" y="10015"/>
                    <a:pt x="16358" y="9945"/>
                  </a:cubicBezTo>
                  <a:cubicBezTo>
                    <a:pt x="16334" y="9844"/>
                    <a:pt x="16300" y="9746"/>
                    <a:pt x="16209" y="9682"/>
                  </a:cubicBezTo>
                  <a:cubicBezTo>
                    <a:pt x="16160" y="9646"/>
                    <a:pt x="16144" y="9646"/>
                    <a:pt x="16105" y="9692"/>
                  </a:cubicBezTo>
                  <a:cubicBezTo>
                    <a:pt x="16054" y="9752"/>
                    <a:pt x="15990" y="9792"/>
                    <a:pt x="15915" y="9816"/>
                  </a:cubicBezTo>
                  <a:cubicBezTo>
                    <a:pt x="15887" y="9825"/>
                    <a:pt x="15876" y="9818"/>
                    <a:pt x="15877" y="9789"/>
                  </a:cubicBezTo>
                  <a:cubicBezTo>
                    <a:pt x="15882" y="9724"/>
                    <a:pt x="15894" y="9663"/>
                    <a:pt x="15971" y="9644"/>
                  </a:cubicBezTo>
                  <a:cubicBezTo>
                    <a:pt x="15983" y="9641"/>
                    <a:pt x="15995" y="9634"/>
                    <a:pt x="15993" y="9619"/>
                  </a:cubicBezTo>
                  <a:cubicBezTo>
                    <a:pt x="15991" y="9599"/>
                    <a:pt x="15975" y="9600"/>
                    <a:pt x="15960" y="9600"/>
                  </a:cubicBezTo>
                  <a:cubicBezTo>
                    <a:pt x="15913" y="9600"/>
                    <a:pt x="15875" y="9617"/>
                    <a:pt x="15849" y="9657"/>
                  </a:cubicBezTo>
                  <a:cubicBezTo>
                    <a:pt x="15806" y="9721"/>
                    <a:pt x="15750" y="9761"/>
                    <a:pt x="15672" y="9773"/>
                  </a:cubicBezTo>
                  <a:cubicBezTo>
                    <a:pt x="15638" y="9779"/>
                    <a:pt x="15612" y="9772"/>
                    <a:pt x="15585" y="9754"/>
                  </a:cubicBezTo>
                  <a:cubicBezTo>
                    <a:pt x="15568" y="9743"/>
                    <a:pt x="15567" y="9729"/>
                    <a:pt x="15581" y="9719"/>
                  </a:cubicBezTo>
                  <a:cubicBezTo>
                    <a:pt x="15616" y="9694"/>
                    <a:pt x="15637" y="9652"/>
                    <a:pt x="15683" y="9639"/>
                  </a:cubicBezTo>
                  <a:cubicBezTo>
                    <a:pt x="15703" y="9634"/>
                    <a:pt x="15720" y="9620"/>
                    <a:pt x="15738" y="9610"/>
                  </a:cubicBezTo>
                  <a:cubicBezTo>
                    <a:pt x="15745" y="9605"/>
                    <a:pt x="15749" y="9597"/>
                    <a:pt x="15746" y="9588"/>
                  </a:cubicBezTo>
                  <a:cubicBezTo>
                    <a:pt x="15744" y="9579"/>
                    <a:pt x="15736" y="9576"/>
                    <a:pt x="15727" y="9575"/>
                  </a:cubicBezTo>
                  <a:cubicBezTo>
                    <a:pt x="15697" y="9574"/>
                    <a:pt x="15670" y="9582"/>
                    <a:pt x="15643" y="9596"/>
                  </a:cubicBezTo>
                  <a:cubicBezTo>
                    <a:pt x="15519" y="9663"/>
                    <a:pt x="15482" y="9640"/>
                    <a:pt x="15395" y="9547"/>
                  </a:cubicBezTo>
                  <a:cubicBezTo>
                    <a:pt x="15394" y="9546"/>
                    <a:pt x="15393" y="9543"/>
                    <a:pt x="15391" y="9536"/>
                  </a:cubicBezTo>
                  <a:cubicBezTo>
                    <a:pt x="15422" y="9509"/>
                    <a:pt x="15457" y="9481"/>
                    <a:pt x="15498" y="9469"/>
                  </a:cubicBezTo>
                  <a:cubicBezTo>
                    <a:pt x="15550" y="9453"/>
                    <a:pt x="15607" y="9436"/>
                    <a:pt x="15656" y="9486"/>
                  </a:cubicBezTo>
                  <a:cubicBezTo>
                    <a:pt x="15674" y="9503"/>
                    <a:pt x="15701" y="9506"/>
                    <a:pt x="15726" y="9508"/>
                  </a:cubicBezTo>
                  <a:cubicBezTo>
                    <a:pt x="15741" y="9510"/>
                    <a:pt x="15757" y="9506"/>
                    <a:pt x="15762" y="9490"/>
                  </a:cubicBezTo>
                  <a:cubicBezTo>
                    <a:pt x="15766" y="9475"/>
                    <a:pt x="15754" y="9468"/>
                    <a:pt x="15743" y="9462"/>
                  </a:cubicBezTo>
                  <a:cubicBezTo>
                    <a:pt x="15693" y="9433"/>
                    <a:pt x="15689" y="9387"/>
                    <a:pt x="15695" y="9337"/>
                  </a:cubicBezTo>
                  <a:cubicBezTo>
                    <a:pt x="15698" y="9312"/>
                    <a:pt x="15714" y="9303"/>
                    <a:pt x="15734" y="9313"/>
                  </a:cubicBezTo>
                  <a:cubicBezTo>
                    <a:pt x="15799" y="9346"/>
                    <a:pt x="15865" y="9380"/>
                    <a:pt x="15871" y="9466"/>
                  </a:cubicBezTo>
                  <a:cubicBezTo>
                    <a:pt x="15873" y="9492"/>
                    <a:pt x="15887" y="9510"/>
                    <a:pt x="15911" y="9517"/>
                  </a:cubicBezTo>
                  <a:cubicBezTo>
                    <a:pt x="15951" y="9529"/>
                    <a:pt x="15991" y="9539"/>
                    <a:pt x="16032" y="9548"/>
                  </a:cubicBezTo>
                  <a:cubicBezTo>
                    <a:pt x="16050" y="9552"/>
                    <a:pt x="16063" y="9534"/>
                    <a:pt x="16055" y="9516"/>
                  </a:cubicBezTo>
                  <a:cubicBezTo>
                    <a:pt x="16051" y="9509"/>
                    <a:pt x="16045" y="9502"/>
                    <a:pt x="16039" y="9497"/>
                  </a:cubicBezTo>
                  <a:cubicBezTo>
                    <a:pt x="15966" y="9439"/>
                    <a:pt x="15995" y="9419"/>
                    <a:pt x="16012" y="9355"/>
                  </a:cubicBezTo>
                  <a:cubicBezTo>
                    <a:pt x="16020" y="9327"/>
                    <a:pt x="16035" y="9324"/>
                    <a:pt x="16058" y="9340"/>
                  </a:cubicBezTo>
                  <a:cubicBezTo>
                    <a:pt x="16119" y="9383"/>
                    <a:pt x="16161" y="9437"/>
                    <a:pt x="16163" y="9514"/>
                  </a:cubicBezTo>
                  <a:cubicBezTo>
                    <a:pt x="16164" y="9548"/>
                    <a:pt x="16176" y="9574"/>
                    <a:pt x="16207" y="9591"/>
                  </a:cubicBezTo>
                  <a:cubicBezTo>
                    <a:pt x="16231" y="9604"/>
                    <a:pt x="16251" y="9622"/>
                    <a:pt x="16269" y="9643"/>
                  </a:cubicBezTo>
                  <a:cubicBezTo>
                    <a:pt x="16278" y="9655"/>
                    <a:pt x="16287" y="9678"/>
                    <a:pt x="16307" y="9666"/>
                  </a:cubicBezTo>
                  <a:cubicBezTo>
                    <a:pt x="16323" y="9657"/>
                    <a:pt x="16317" y="9636"/>
                    <a:pt x="16313" y="9620"/>
                  </a:cubicBezTo>
                  <a:cubicBezTo>
                    <a:pt x="16310" y="9609"/>
                    <a:pt x="16304" y="9598"/>
                    <a:pt x="16298" y="9587"/>
                  </a:cubicBezTo>
                  <a:cubicBezTo>
                    <a:pt x="16259" y="9511"/>
                    <a:pt x="16219" y="9436"/>
                    <a:pt x="16181" y="9359"/>
                  </a:cubicBezTo>
                  <a:cubicBezTo>
                    <a:pt x="16161" y="9318"/>
                    <a:pt x="16147" y="9276"/>
                    <a:pt x="16154" y="9227"/>
                  </a:cubicBezTo>
                  <a:cubicBezTo>
                    <a:pt x="16158" y="9192"/>
                    <a:pt x="16166" y="9158"/>
                    <a:pt x="16168" y="9122"/>
                  </a:cubicBezTo>
                  <a:cubicBezTo>
                    <a:pt x="16170" y="9098"/>
                    <a:pt x="16178" y="9068"/>
                    <a:pt x="16155" y="9052"/>
                  </a:cubicBezTo>
                  <a:cubicBezTo>
                    <a:pt x="16129" y="9035"/>
                    <a:pt x="16110" y="9062"/>
                    <a:pt x="16090" y="9075"/>
                  </a:cubicBezTo>
                  <a:cubicBezTo>
                    <a:pt x="16088" y="9076"/>
                    <a:pt x="16087" y="9078"/>
                    <a:pt x="16085" y="9079"/>
                  </a:cubicBezTo>
                  <a:cubicBezTo>
                    <a:pt x="16074" y="9089"/>
                    <a:pt x="16061" y="9097"/>
                    <a:pt x="16046" y="9087"/>
                  </a:cubicBezTo>
                  <a:cubicBezTo>
                    <a:pt x="16034" y="9079"/>
                    <a:pt x="16037" y="9066"/>
                    <a:pt x="16037" y="9053"/>
                  </a:cubicBezTo>
                  <a:cubicBezTo>
                    <a:pt x="16036" y="9008"/>
                    <a:pt x="16052" y="8968"/>
                    <a:pt x="16071" y="8928"/>
                  </a:cubicBezTo>
                  <a:cubicBezTo>
                    <a:pt x="16083" y="8904"/>
                    <a:pt x="16073" y="8891"/>
                    <a:pt x="16048" y="8897"/>
                  </a:cubicBezTo>
                  <a:cubicBezTo>
                    <a:pt x="16011" y="8905"/>
                    <a:pt x="15977" y="8921"/>
                    <a:pt x="15961" y="8960"/>
                  </a:cubicBezTo>
                  <a:cubicBezTo>
                    <a:pt x="15946" y="8995"/>
                    <a:pt x="15934" y="9030"/>
                    <a:pt x="15927" y="9067"/>
                  </a:cubicBezTo>
                  <a:cubicBezTo>
                    <a:pt x="15916" y="9132"/>
                    <a:pt x="15866" y="9169"/>
                    <a:pt x="15819" y="9206"/>
                  </a:cubicBezTo>
                  <a:cubicBezTo>
                    <a:pt x="15802" y="9219"/>
                    <a:pt x="15782" y="9215"/>
                    <a:pt x="15776" y="9190"/>
                  </a:cubicBezTo>
                  <a:cubicBezTo>
                    <a:pt x="15770" y="9168"/>
                    <a:pt x="15766" y="9145"/>
                    <a:pt x="15760" y="9123"/>
                  </a:cubicBezTo>
                  <a:cubicBezTo>
                    <a:pt x="15733" y="9031"/>
                    <a:pt x="15766" y="8960"/>
                    <a:pt x="15854" y="8922"/>
                  </a:cubicBezTo>
                  <a:cubicBezTo>
                    <a:pt x="15883" y="8910"/>
                    <a:pt x="15913" y="8901"/>
                    <a:pt x="15941" y="8887"/>
                  </a:cubicBezTo>
                  <a:cubicBezTo>
                    <a:pt x="15975" y="8872"/>
                    <a:pt x="15977" y="8856"/>
                    <a:pt x="15949" y="8832"/>
                  </a:cubicBezTo>
                  <a:cubicBezTo>
                    <a:pt x="15925" y="8812"/>
                    <a:pt x="15900" y="8795"/>
                    <a:pt x="15886" y="8765"/>
                  </a:cubicBezTo>
                  <a:cubicBezTo>
                    <a:pt x="15880" y="8752"/>
                    <a:pt x="15866" y="8751"/>
                    <a:pt x="15853" y="8751"/>
                  </a:cubicBezTo>
                  <a:close/>
                  <a:moveTo>
                    <a:pt x="10616" y="3611"/>
                  </a:moveTo>
                  <a:cubicBezTo>
                    <a:pt x="10639" y="3597"/>
                    <a:pt x="10649" y="3580"/>
                    <a:pt x="10657" y="3561"/>
                  </a:cubicBezTo>
                  <a:cubicBezTo>
                    <a:pt x="10673" y="3526"/>
                    <a:pt x="10699" y="3499"/>
                    <a:pt x="10729" y="3476"/>
                  </a:cubicBezTo>
                  <a:cubicBezTo>
                    <a:pt x="10761" y="3453"/>
                    <a:pt x="10770" y="3455"/>
                    <a:pt x="10781" y="3492"/>
                  </a:cubicBezTo>
                  <a:cubicBezTo>
                    <a:pt x="10787" y="3514"/>
                    <a:pt x="10793" y="3536"/>
                    <a:pt x="10798" y="3558"/>
                  </a:cubicBezTo>
                  <a:cubicBezTo>
                    <a:pt x="10805" y="3587"/>
                    <a:pt x="10807" y="3617"/>
                    <a:pt x="10850" y="3613"/>
                  </a:cubicBezTo>
                  <a:cubicBezTo>
                    <a:pt x="10860" y="3612"/>
                    <a:pt x="10869" y="3621"/>
                    <a:pt x="10874" y="3631"/>
                  </a:cubicBezTo>
                  <a:cubicBezTo>
                    <a:pt x="10904" y="3699"/>
                    <a:pt x="10961" y="3766"/>
                    <a:pt x="10884" y="3840"/>
                  </a:cubicBezTo>
                  <a:cubicBezTo>
                    <a:pt x="10878" y="3846"/>
                    <a:pt x="10878" y="3856"/>
                    <a:pt x="10882" y="3863"/>
                  </a:cubicBezTo>
                  <a:cubicBezTo>
                    <a:pt x="10888" y="3874"/>
                    <a:pt x="10898" y="3876"/>
                    <a:pt x="10909" y="3874"/>
                  </a:cubicBezTo>
                  <a:cubicBezTo>
                    <a:pt x="10936" y="3866"/>
                    <a:pt x="10944" y="3845"/>
                    <a:pt x="10943" y="3820"/>
                  </a:cubicBezTo>
                  <a:cubicBezTo>
                    <a:pt x="10942" y="3733"/>
                    <a:pt x="10953" y="3647"/>
                    <a:pt x="10946" y="3559"/>
                  </a:cubicBezTo>
                  <a:cubicBezTo>
                    <a:pt x="10938" y="3460"/>
                    <a:pt x="10908" y="3368"/>
                    <a:pt x="10874" y="3276"/>
                  </a:cubicBezTo>
                  <a:cubicBezTo>
                    <a:pt x="10844" y="3193"/>
                    <a:pt x="10807" y="3115"/>
                    <a:pt x="10748" y="3049"/>
                  </a:cubicBezTo>
                  <a:cubicBezTo>
                    <a:pt x="10667" y="2958"/>
                    <a:pt x="10599" y="2860"/>
                    <a:pt x="10555" y="2746"/>
                  </a:cubicBezTo>
                  <a:cubicBezTo>
                    <a:pt x="10528" y="2677"/>
                    <a:pt x="10505" y="2605"/>
                    <a:pt x="10478" y="2536"/>
                  </a:cubicBezTo>
                  <a:cubicBezTo>
                    <a:pt x="10458" y="2484"/>
                    <a:pt x="10436" y="2435"/>
                    <a:pt x="10390" y="2396"/>
                  </a:cubicBezTo>
                  <a:cubicBezTo>
                    <a:pt x="10358" y="2369"/>
                    <a:pt x="10322" y="2341"/>
                    <a:pt x="10305" y="2298"/>
                  </a:cubicBezTo>
                  <a:cubicBezTo>
                    <a:pt x="10300" y="2283"/>
                    <a:pt x="10285" y="2271"/>
                    <a:pt x="10273" y="2261"/>
                  </a:cubicBezTo>
                  <a:cubicBezTo>
                    <a:pt x="10218" y="2215"/>
                    <a:pt x="10165" y="2169"/>
                    <a:pt x="10108" y="2127"/>
                  </a:cubicBezTo>
                  <a:cubicBezTo>
                    <a:pt x="10010" y="2057"/>
                    <a:pt x="9903" y="2004"/>
                    <a:pt x="9786" y="1968"/>
                  </a:cubicBezTo>
                  <a:cubicBezTo>
                    <a:pt x="9707" y="1944"/>
                    <a:pt x="9631" y="1944"/>
                    <a:pt x="9552" y="1956"/>
                  </a:cubicBezTo>
                  <a:cubicBezTo>
                    <a:pt x="9505" y="1963"/>
                    <a:pt x="9498" y="1987"/>
                    <a:pt x="9525" y="2026"/>
                  </a:cubicBezTo>
                  <a:cubicBezTo>
                    <a:pt x="9533" y="2038"/>
                    <a:pt x="9541" y="2050"/>
                    <a:pt x="9551" y="2061"/>
                  </a:cubicBezTo>
                  <a:cubicBezTo>
                    <a:pt x="9588" y="2099"/>
                    <a:pt x="9599" y="2142"/>
                    <a:pt x="9576" y="2192"/>
                  </a:cubicBezTo>
                  <a:cubicBezTo>
                    <a:pt x="9569" y="2208"/>
                    <a:pt x="9576" y="2233"/>
                    <a:pt x="9554" y="2240"/>
                  </a:cubicBezTo>
                  <a:cubicBezTo>
                    <a:pt x="9527" y="2248"/>
                    <a:pt x="9521" y="2220"/>
                    <a:pt x="9506" y="2207"/>
                  </a:cubicBezTo>
                  <a:cubicBezTo>
                    <a:pt x="9499" y="2200"/>
                    <a:pt x="9492" y="2191"/>
                    <a:pt x="9483" y="2186"/>
                  </a:cubicBezTo>
                  <a:cubicBezTo>
                    <a:pt x="9434" y="2161"/>
                    <a:pt x="9411" y="2121"/>
                    <a:pt x="9404" y="2067"/>
                  </a:cubicBezTo>
                  <a:cubicBezTo>
                    <a:pt x="9400" y="2039"/>
                    <a:pt x="9378" y="2028"/>
                    <a:pt x="9354" y="2040"/>
                  </a:cubicBezTo>
                  <a:cubicBezTo>
                    <a:pt x="9330" y="2052"/>
                    <a:pt x="9307" y="2066"/>
                    <a:pt x="9285" y="2082"/>
                  </a:cubicBezTo>
                  <a:cubicBezTo>
                    <a:pt x="9258" y="2104"/>
                    <a:pt x="9258" y="2127"/>
                    <a:pt x="9289" y="2147"/>
                  </a:cubicBezTo>
                  <a:cubicBezTo>
                    <a:pt x="9318" y="2166"/>
                    <a:pt x="9338" y="2190"/>
                    <a:pt x="9354" y="2220"/>
                  </a:cubicBezTo>
                  <a:cubicBezTo>
                    <a:pt x="9375" y="2260"/>
                    <a:pt x="9376" y="2259"/>
                    <a:pt x="9422" y="2241"/>
                  </a:cubicBezTo>
                  <a:cubicBezTo>
                    <a:pt x="9452" y="2229"/>
                    <a:pt x="9474" y="2233"/>
                    <a:pt x="9478" y="2256"/>
                  </a:cubicBezTo>
                  <a:cubicBezTo>
                    <a:pt x="9493" y="2328"/>
                    <a:pt x="9510" y="2399"/>
                    <a:pt x="9444" y="2459"/>
                  </a:cubicBezTo>
                  <a:cubicBezTo>
                    <a:pt x="9420" y="2481"/>
                    <a:pt x="9393" y="2506"/>
                    <a:pt x="9383" y="2540"/>
                  </a:cubicBezTo>
                  <a:cubicBezTo>
                    <a:pt x="9404" y="2551"/>
                    <a:pt x="9412" y="2533"/>
                    <a:pt x="9425" y="2528"/>
                  </a:cubicBezTo>
                  <a:cubicBezTo>
                    <a:pt x="9456" y="2516"/>
                    <a:pt x="9488" y="2502"/>
                    <a:pt x="9520" y="2525"/>
                  </a:cubicBezTo>
                  <a:cubicBezTo>
                    <a:pt x="9545" y="2543"/>
                    <a:pt x="9571" y="2561"/>
                    <a:pt x="9594" y="2581"/>
                  </a:cubicBezTo>
                  <a:cubicBezTo>
                    <a:pt x="9616" y="2602"/>
                    <a:pt x="9613" y="2624"/>
                    <a:pt x="9584" y="2634"/>
                  </a:cubicBezTo>
                  <a:cubicBezTo>
                    <a:pt x="9552" y="2645"/>
                    <a:pt x="9525" y="2663"/>
                    <a:pt x="9498" y="2682"/>
                  </a:cubicBezTo>
                  <a:cubicBezTo>
                    <a:pt x="9452" y="2713"/>
                    <a:pt x="9404" y="2736"/>
                    <a:pt x="9346" y="2710"/>
                  </a:cubicBezTo>
                  <a:cubicBezTo>
                    <a:pt x="9324" y="2700"/>
                    <a:pt x="9297" y="2719"/>
                    <a:pt x="9287" y="2743"/>
                  </a:cubicBezTo>
                  <a:cubicBezTo>
                    <a:pt x="9278" y="2767"/>
                    <a:pt x="9292" y="2787"/>
                    <a:pt x="9317" y="2782"/>
                  </a:cubicBezTo>
                  <a:cubicBezTo>
                    <a:pt x="9349" y="2776"/>
                    <a:pt x="9383" y="2776"/>
                    <a:pt x="9414" y="2763"/>
                  </a:cubicBezTo>
                  <a:cubicBezTo>
                    <a:pt x="9464" y="2743"/>
                    <a:pt x="9507" y="2774"/>
                    <a:pt x="9550" y="2792"/>
                  </a:cubicBezTo>
                  <a:cubicBezTo>
                    <a:pt x="9566" y="2798"/>
                    <a:pt x="9573" y="2822"/>
                    <a:pt x="9552" y="2832"/>
                  </a:cubicBezTo>
                  <a:cubicBezTo>
                    <a:pt x="9476" y="2867"/>
                    <a:pt x="9403" y="2916"/>
                    <a:pt x="9312" y="2902"/>
                  </a:cubicBezTo>
                  <a:cubicBezTo>
                    <a:pt x="9261" y="2895"/>
                    <a:pt x="9238" y="2918"/>
                    <a:pt x="9242" y="2969"/>
                  </a:cubicBezTo>
                  <a:cubicBezTo>
                    <a:pt x="9244" y="2986"/>
                    <a:pt x="9248" y="3002"/>
                    <a:pt x="9251" y="3018"/>
                  </a:cubicBezTo>
                  <a:cubicBezTo>
                    <a:pt x="9263" y="3099"/>
                    <a:pt x="9296" y="3173"/>
                    <a:pt x="9317" y="3251"/>
                  </a:cubicBezTo>
                  <a:cubicBezTo>
                    <a:pt x="9322" y="3271"/>
                    <a:pt x="9335" y="3283"/>
                    <a:pt x="9350" y="3296"/>
                  </a:cubicBezTo>
                  <a:cubicBezTo>
                    <a:pt x="9382" y="3322"/>
                    <a:pt x="9407" y="3355"/>
                    <a:pt x="9433" y="3388"/>
                  </a:cubicBezTo>
                  <a:cubicBezTo>
                    <a:pt x="9474" y="3441"/>
                    <a:pt x="9508" y="3498"/>
                    <a:pt x="9543" y="3554"/>
                  </a:cubicBezTo>
                  <a:cubicBezTo>
                    <a:pt x="9555" y="3572"/>
                    <a:pt x="9565" y="3590"/>
                    <a:pt x="9584" y="3601"/>
                  </a:cubicBezTo>
                  <a:cubicBezTo>
                    <a:pt x="9591" y="3606"/>
                    <a:pt x="9599" y="3608"/>
                    <a:pt x="9607" y="3602"/>
                  </a:cubicBezTo>
                  <a:cubicBezTo>
                    <a:pt x="9615" y="3598"/>
                    <a:pt x="9619" y="3590"/>
                    <a:pt x="9616" y="3581"/>
                  </a:cubicBezTo>
                  <a:cubicBezTo>
                    <a:pt x="9609" y="3551"/>
                    <a:pt x="9602" y="3520"/>
                    <a:pt x="9592" y="3490"/>
                  </a:cubicBezTo>
                  <a:cubicBezTo>
                    <a:pt x="9587" y="3471"/>
                    <a:pt x="9585" y="3454"/>
                    <a:pt x="9597" y="3437"/>
                  </a:cubicBezTo>
                  <a:cubicBezTo>
                    <a:pt x="9631" y="3392"/>
                    <a:pt x="9618" y="3344"/>
                    <a:pt x="9596" y="3301"/>
                  </a:cubicBezTo>
                  <a:cubicBezTo>
                    <a:pt x="9547" y="3205"/>
                    <a:pt x="9580" y="3104"/>
                    <a:pt x="9571" y="3006"/>
                  </a:cubicBezTo>
                  <a:cubicBezTo>
                    <a:pt x="9570" y="2993"/>
                    <a:pt x="9581" y="2984"/>
                    <a:pt x="9596" y="2986"/>
                  </a:cubicBezTo>
                  <a:cubicBezTo>
                    <a:pt x="9652" y="2996"/>
                    <a:pt x="9733" y="3078"/>
                    <a:pt x="9742" y="3136"/>
                  </a:cubicBezTo>
                  <a:cubicBezTo>
                    <a:pt x="9747" y="3162"/>
                    <a:pt x="9749" y="3189"/>
                    <a:pt x="9741" y="3216"/>
                  </a:cubicBezTo>
                  <a:cubicBezTo>
                    <a:pt x="9737" y="3228"/>
                    <a:pt x="9732" y="3242"/>
                    <a:pt x="9744" y="3251"/>
                  </a:cubicBezTo>
                  <a:cubicBezTo>
                    <a:pt x="9757" y="3260"/>
                    <a:pt x="9768" y="3251"/>
                    <a:pt x="9777" y="3243"/>
                  </a:cubicBezTo>
                  <a:cubicBezTo>
                    <a:pt x="9808" y="3217"/>
                    <a:pt x="9841" y="3189"/>
                    <a:pt x="9880" y="3188"/>
                  </a:cubicBezTo>
                  <a:cubicBezTo>
                    <a:pt x="9926" y="3187"/>
                    <a:pt x="9940" y="3167"/>
                    <a:pt x="9950" y="3127"/>
                  </a:cubicBezTo>
                  <a:cubicBezTo>
                    <a:pt x="9967" y="3052"/>
                    <a:pt x="10016" y="3010"/>
                    <a:pt x="10094" y="3002"/>
                  </a:cubicBezTo>
                  <a:cubicBezTo>
                    <a:pt x="10114" y="3000"/>
                    <a:pt x="10130" y="3005"/>
                    <a:pt x="10144" y="3020"/>
                  </a:cubicBezTo>
                  <a:cubicBezTo>
                    <a:pt x="10194" y="3070"/>
                    <a:pt x="10191" y="3108"/>
                    <a:pt x="10137" y="3156"/>
                  </a:cubicBezTo>
                  <a:cubicBezTo>
                    <a:pt x="10114" y="3175"/>
                    <a:pt x="10085" y="3182"/>
                    <a:pt x="10061" y="3197"/>
                  </a:cubicBezTo>
                  <a:cubicBezTo>
                    <a:pt x="10047" y="3206"/>
                    <a:pt x="10029" y="3212"/>
                    <a:pt x="10030" y="3233"/>
                  </a:cubicBezTo>
                  <a:cubicBezTo>
                    <a:pt x="10032" y="3256"/>
                    <a:pt x="10051" y="3261"/>
                    <a:pt x="10069" y="3267"/>
                  </a:cubicBezTo>
                  <a:cubicBezTo>
                    <a:pt x="10087" y="3274"/>
                    <a:pt x="10105" y="3276"/>
                    <a:pt x="10124" y="3273"/>
                  </a:cubicBezTo>
                  <a:cubicBezTo>
                    <a:pt x="10183" y="3265"/>
                    <a:pt x="10225" y="3288"/>
                    <a:pt x="10253" y="3340"/>
                  </a:cubicBezTo>
                  <a:cubicBezTo>
                    <a:pt x="10270" y="3371"/>
                    <a:pt x="10288" y="3401"/>
                    <a:pt x="10305" y="3432"/>
                  </a:cubicBezTo>
                  <a:cubicBezTo>
                    <a:pt x="10321" y="3462"/>
                    <a:pt x="10312" y="3482"/>
                    <a:pt x="10280" y="3485"/>
                  </a:cubicBezTo>
                  <a:cubicBezTo>
                    <a:pt x="10210" y="3490"/>
                    <a:pt x="10142" y="3490"/>
                    <a:pt x="10091" y="3430"/>
                  </a:cubicBezTo>
                  <a:cubicBezTo>
                    <a:pt x="10084" y="3423"/>
                    <a:pt x="10077" y="3415"/>
                    <a:pt x="10059" y="3419"/>
                  </a:cubicBezTo>
                  <a:cubicBezTo>
                    <a:pt x="10048" y="3442"/>
                    <a:pt x="10056" y="3468"/>
                    <a:pt x="10056" y="3494"/>
                  </a:cubicBezTo>
                  <a:cubicBezTo>
                    <a:pt x="10056" y="3516"/>
                    <a:pt x="10045" y="3529"/>
                    <a:pt x="10025" y="3518"/>
                  </a:cubicBezTo>
                  <a:cubicBezTo>
                    <a:pt x="9970" y="3489"/>
                    <a:pt x="9912" y="3463"/>
                    <a:pt x="9897" y="3392"/>
                  </a:cubicBezTo>
                  <a:cubicBezTo>
                    <a:pt x="9894" y="3375"/>
                    <a:pt x="9894" y="3359"/>
                    <a:pt x="9891" y="3343"/>
                  </a:cubicBezTo>
                  <a:cubicBezTo>
                    <a:pt x="9889" y="3323"/>
                    <a:pt x="9871" y="3316"/>
                    <a:pt x="9854" y="3326"/>
                  </a:cubicBezTo>
                  <a:cubicBezTo>
                    <a:pt x="9829" y="3340"/>
                    <a:pt x="9820" y="3370"/>
                    <a:pt x="9838" y="3402"/>
                  </a:cubicBezTo>
                  <a:cubicBezTo>
                    <a:pt x="9867" y="3451"/>
                    <a:pt x="9878" y="3507"/>
                    <a:pt x="9906" y="3556"/>
                  </a:cubicBezTo>
                  <a:cubicBezTo>
                    <a:pt x="9918" y="3575"/>
                    <a:pt x="9914" y="3591"/>
                    <a:pt x="9895" y="3604"/>
                  </a:cubicBezTo>
                  <a:cubicBezTo>
                    <a:pt x="9883" y="3612"/>
                    <a:pt x="9871" y="3621"/>
                    <a:pt x="9860" y="3630"/>
                  </a:cubicBezTo>
                  <a:cubicBezTo>
                    <a:pt x="9846" y="3640"/>
                    <a:pt x="9832" y="3641"/>
                    <a:pt x="9820" y="3629"/>
                  </a:cubicBezTo>
                  <a:cubicBezTo>
                    <a:pt x="9790" y="3598"/>
                    <a:pt x="9754" y="3571"/>
                    <a:pt x="9742" y="3526"/>
                  </a:cubicBezTo>
                  <a:cubicBezTo>
                    <a:pt x="9739" y="3513"/>
                    <a:pt x="9739" y="3492"/>
                    <a:pt x="9720" y="3495"/>
                  </a:cubicBezTo>
                  <a:cubicBezTo>
                    <a:pt x="9701" y="3497"/>
                    <a:pt x="9705" y="3517"/>
                    <a:pt x="9704" y="3530"/>
                  </a:cubicBezTo>
                  <a:cubicBezTo>
                    <a:pt x="9703" y="3541"/>
                    <a:pt x="9704" y="3551"/>
                    <a:pt x="9703" y="3562"/>
                  </a:cubicBezTo>
                  <a:cubicBezTo>
                    <a:pt x="9696" y="3732"/>
                    <a:pt x="9764" y="3877"/>
                    <a:pt x="9851" y="4017"/>
                  </a:cubicBezTo>
                  <a:cubicBezTo>
                    <a:pt x="9892" y="4082"/>
                    <a:pt x="9938" y="4144"/>
                    <a:pt x="9969" y="4215"/>
                  </a:cubicBezTo>
                  <a:cubicBezTo>
                    <a:pt x="10011" y="4314"/>
                    <a:pt x="10012" y="4422"/>
                    <a:pt x="10011" y="4527"/>
                  </a:cubicBezTo>
                  <a:cubicBezTo>
                    <a:pt x="10010" y="4608"/>
                    <a:pt x="10018" y="4688"/>
                    <a:pt x="10026" y="4769"/>
                  </a:cubicBezTo>
                  <a:cubicBezTo>
                    <a:pt x="10030" y="4806"/>
                    <a:pt x="10041" y="4841"/>
                    <a:pt x="10060" y="4875"/>
                  </a:cubicBezTo>
                  <a:cubicBezTo>
                    <a:pt x="10081" y="4913"/>
                    <a:pt x="10098" y="4953"/>
                    <a:pt x="10114" y="4994"/>
                  </a:cubicBezTo>
                  <a:cubicBezTo>
                    <a:pt x="10141" y="5067"/>
                    <a:pt x="10189" y="5123"/>
                    <a:pt x="10253" y="5164"/>
                  </a:cubicBezTo>
                  <a:cubicBezTo>
                    <a:pt x="10313" y="5202"/>
                    <a:pt x="10383" y="5218"/>
                    <a:pt x="10451" y="5235"/>
                  </a:cubicBezTo>
                  <a:cubicBezTo>
                    <a:pt x="10492" y="5245"/>
                    <a:pt x="10530" y="5257"/>
                    <a:pt x="10565" y="5279"/>
                  </a:cubicBezTo>
                  <a:cubicBezTo>
                    <a:pt x="10591" y="5295"/>
                    <a:pt x="10617" y="5305"/>
                    <a:pt x="10648" y="5294"/>
                  </a:cubicBezTo>
                  <a:cubicBezTo>
                    <a:pt x="10674" y="5285"/>
                    <a:pt x="10704" y="5287"/>
                    <a:pt x="10727" y="5299"/>
                  </a:cubicBezTo>
                  <a:cubicBezTo>
                    <a:pt x="10775" y="5324"/>
                    <a:pt x="10827" y="5324"/>
                    <a:pt x="10878" y="5331"/>
                  </a:cubicBezTo>
                  <a:cubicBezTo>
                    <a:pt x="10921" y="5337"/>
                    <a:pt x="10961" y="5336"/>
                    <a:pt x="10996" y="5307"/>
                  </a:cubicBezTo>
                  <a:cubicBezTo>
                    <a:pt x="11010" y="5295"/>
                    <a:pt x="11028" y="5290"/>
                    <a:pt x="11042" y="5303"/>
                  </a:cubicBezTo>
                  <a:cubicBezTo>
                    <a:pt x="11073" y="5333"/>
                    <a:pt x="11110" y="5326"/>
                    <a:pt x="11147" y="5328"/>
                  </a:cubicBezTo>
                  <a:cubicBezTo>
                    <a:pt x="11197" y="5329"/>
                    <a:pt x="11247" y="5324"/>
                    <a:pt x="11296" y="5336"/>
                  </a:cubicBezTo>
                  <a:cubicBezTo>
                    <a:pt x="11333" y="5345"/>
                    <a:pt x="11347" y="5333"/>
                    <a:pt x="11343" y="5294"/>
                  </a:cubicBezTo>
                  <a:cubicBezTo>
                    <a:pt x="11340" y="5260"/>
                    <a:pt x="11343" y="5227"/>
                    <a:pt x="11351" y="5195"/>
                  </a:cubicBezTo>
                  <a:cubicBezTo>
                    <a:pt x="11376" y="5084"/>
                    <a:pt x="11383" y="4973"/>
                    <a:pt x="11372" y="4860"/>
                  </a:cubicBezTo>
                  <a:cubicBezTo>
                    <a:pt x="11364" y="4776"/>
                    <a:pt x="11336" y="4705"/>
                    <a:pt x="11275" y="4644"/>
                  </a:cubicBezTo>
                  <a:cubicBezTo>
                    <a:pt x="11248" y="4616"/>
                    <a:pt x="11220" y="4602"/>
                    <a:pt x="11183" y="4600"/>
                  </a:cubicBezTo>
                  <a:cubicBezTo>
                    <a:pt x="11132" y="4598"/>
                    <a:pt x="11105" y="4623"/>
                    <a:pt x="11108" y="4676"/>
                  </a:cubicBezTo>
                  <a:cubicBezTo>
                    <a:pt x="11110" y="4709"/>
                    <a:pt x="11118" y="4741"/>
                    <a:pt x="11124" y="4774"/>
                  </a:cubicBezTo>
                  <a:cubicBezTo>
                    <a:pt x="11137" y="4832"/>
                    <a:pt x="11134" y="4890"/>
                    <a:pt x="11115" y="4946"/>
                  </a:cubicBezTo>
                  <a:cubicBezTo>
                    <a:pt x="11105" y="4975"/>
                    <a:pt x="11083" y="4987"/>
                    <a:pt x="11057" y="4972"/>
                  </a:cubicBezTo>
                  <a:cubicBezTo>
                    <a:pt x="11024" y="4954"/>
                    <a:pt x="10990" y="4936"/>
                    <a:pt x="10970" y="4903"/>
                  </a:cubicBezTo>
                  <a:cubicBezTo>
                    <a:pt x="10941" y="4859"/>
                    <a:pt x="10927" y="4812"/>
                    <a:pt x="10967" y="4766"/>
                  </a:cubicBezTo>
                  <a:cubicBezTo>
                    <a:pt x="10973" y="4759"/>
                    <a:pt x="10976" y="4751"/>
                    <a:pt x="10979" y="4744"/>
                  </a:cubicBezTo>
                  <a:cubicBezTo>
                    <a:pt x="10982" y="4736"/>
                    <a:pt x="10984" y="4727"/>
                    <a:pt x="10976" y="4721"/>
                  </a:cubicBezTo>
                  <a:cubicBezTo>
                    <a:pt x="10969" y="4714"/>
                    <a:pt x="10960" y="4717"/>
                    <a:pt x="10953" y="4721"/>
                  </a:cubicBezTo>
                  <a:cubicBezTo>
                    <a:pt x="10913" y="4747"/>
                    <a:pt x="10877" y="4778"/>
                    <a:pt x="10885" y="4831"/>
                  </a:cubicBezTo>
                  <a:cubicBezTo>
                    <a:pt x="10896" y="4894"/>
                    <a:pt x="10881" y="4955"/>
                    <a:pt x="10878" y="5017"/>
                  </a:cubicBezTo>
                  <a:cubicBezTo>
                    <a:pt x="10876" y="5077"/>
                    <a:pt x="10860" y="5084"/>
                    <a:pt x="10812" y="5051"/>
                  </a:cubicBezTo>
                  <a:cubicBezTo>
                    <a:pt x="10804" y="5046"/>
                    <a:pt x="10795" y="5040"/>
                    <a:pt x="10786" y="5035"/>
                  </a:cubicBezTo>
                  <a:cubicBezTo>
                    <a:pt x="10679" y="4972"/>
                    <a:pt x="10671" y="4829"/>
                    <a:pt x="10765" y="4757"/>
                  </a:cubicBezTo>
                  <a:cubicBezTo>
                    <a:pt x="10808" y="4723"/>
                    <a:pt x="10843" y="4681"/>
                    <a:pt x="10888" y="4652"/>
                  </a:cubicBezTo>
                  <a:cubicBezTo>
                    <a:pt x="10899" y="4645"/>
                    <a:pt x="10909" y="4635"/>
                    <a:pt x="10902" y="4621"/>
                  </a:cubicBezTo>
                  <a:cubicBezTo>
                    <a:pt x="10896" y="4608"/>
                    <a:pt x="10882" y="4608"/>
                    <a:pt x="10869" y="4609"/>
                  </a:cubicBezTo>
                  <a:cubicBezTo>
                    <a:pt x="10843" y="4611"/>
                    <a:pt x="10823" y="4625"/>
                    <a:pt x="10801" y="4638"/>
                  </a:cubicBezTo>
                  <a:cubicBezTo>
                    <a:pt x="10789" y="4646"/>
                    <a:pt x="10776" y="4655"/>
                    <a:pt x="10761" y="4646"/>
                  </a:cubicBezTo>
                  <a:cubicBezTo>
                    <a:pt x="10743" y="4635"/>
                    <a:pt x="10746" y="4618"/>
                    <a:pt x="10748" y="4601"/>
                  </a:cubicBezTo>
                  <a:cubicBezTo>
                    <a:pt x="10757" y="4520"/>
                    <a:pt x="10833" y="4450"/>
                    <a:pt x="10913" y="4440"/>
                  </a:cubicBezTo>
                  <a:cubicBezTo>
                    <a:pt x="10956" y="4435"/>
                    <a:pt x="10986" y="4456"/>
                    <a:pt x="11017" y="4475"/>
                  </a:cubicBezTo>
                  <a:cubicBezTo>
                    <a:pt x="11047" y="4494"/>
                    <a:pt x="11078" y="4503"/>
                    <a:pt x="11111" y="4497"/>
                  </a:cubicBezTo>
                  <a:cubicBezTo>
                    <a:pt x="11149" y="4491"/>
                    <a:pt x="11186" y="4490"/>
                    <a:pt x="11223" y="4500"/>
                  </a:cubicBezTo>
                  <a:cubicBezTo>
                    <a:pt x="11235" y="4503"/>
                    <a:pt x="11248" y="4504"/>
                    <a:pt x="11255" y="4490"/>
                  </a:cubicBezTo>
                  <a:cubicBezTo>
                    <a:pt x="11260" y="4480"/>
                    <a:pt x="11258" y="4470"/>
                    <a:pt x="11252" y="4461"/>
                  </a:cubicBezTo>
                  <a:cubicBezTo>
                    <a:pt x="11246" y="4452"/>
                    <a:pt x="11238" y="4445"/>
                    <a:pt x="11233" y="4436"/>
                  </a:cubicBezTo>
                  <a:cubicBezTo>
                    <a:pt x="11207" y="4393"/>
                    <a:pt x="11168" y="4360"/>
                    <a:pt x="11140" y="4319"/>
                  </a:cubicBezTo>
                  <a:cubicBezTo>
                    <a:pt x="11101" y="4261"/>
                    <a:pt x="11070" y="4201"/>
                    <a:pt x="11046" y="4137"/>
                  </a:cubicBezTo>
                  <a:cubicBezTo>
                    <a:pt x="11017" y="4059"/>
                    <a:pt x="10967" y="4018"/>
                    <a:pt x="10881" y="4024"/>
                  </a:cubicBezTo>
                  <a:cubicBezTo>
                    <a:pt x="10844" y="4027"/>
                    <a:pt x="10808" y="4007"/>
                    <a:pt x="10770" y="4025"/>
                  </a:cubicBezTo>
                  <a:cubicBezTo>
                    <a:pt x="10675" y="4069"/>
                    <a:pt x="10575" y="4050"/>
                    <a:pt x="10476" y="4043"/>
                  </a:cubicBezTo>
                  <a:cubicBezTo>
                    <a:pt x="10455" y="4042"/>
                    <a:pt x="10438" y="4032"/>
                    <a:pt x="10458" y="4007"/>
                  </a:cubicBezTo>
                  <a:cubicBezTo>
                    <a:pt x="10465" y="3999"/>
                    <a:pt x="10471" y="3989"/>
                    <a:pt x="10464" y="3979"/>
                  </a:cubicBezTo>
                  <a:cubicBezTo>
                    <a:pt x="10455" y="3967"/>
                    <a:pt x="10441" y="3973"/>
                    <a:pt x="10429" y="3976"/>
                  </a:cubicBezTo>
                  <a:cubicBezTo>
                    <a:pt x="10421" y="3979"/>
                    <a:pt x="10414" y="3984"/>
                    <a:pt x="10406" y="3986"/>
                  </a:cubicBezTo>
                  <a:cubicBezTo>
                    <a:pt x="10379" y="3996"/>
                    <a:pt x="10367" y="3990"/>
                    <a:pt x="10367" y="3960"/>
                  </a:cubicBezTo>
                  <a:cubicBezTo>
                    <a:pt x="10367" y="3933"/>
                    <a:pt x="10372" y="3906"/>
                    <a:pt x="10373" y="3879"/>
                  </a:cubicBezTo>
                  <a:cubicBezTo>
                    <a:pt x="10375" y="3820"/>
                    <a:pt x="10408" y="3784"/>
                    <a:pt x="10457" y="3758"/>
                  </a:cubicBezTo>
                  <a:cubicBezTo>
                    <a:pt x="10468" y="3752"/>
                    <a:pt x="10480" y="3749"/>
                    <a:pt x="10492" y="3743"/>
                  </a:cubicBezTo>
                  <a:cubicBezTo>
                    <a:pt x="10547" y="3719"/>
                    <a:pt x="10553" y="3706"/>
                    <a:pt x="10539" y="3647"/>
                  </a:cubicBezTo>
                  <a:cubicBezTo>
                    <a:pt x="10533" y="3622"/>
                    <a:pt x="10524" y="3599"/>
                    <a:pt x="10506" y="3581"/>
                  </a:cubicBezTo>
                  <a:cubicBezTo>
                    <a:pt x="10490" y="3565"/>
                    <a:pt x="10471" y="3551"/>
                    <a:pt x="10456" y="3534"/>
                  </a:cubicBezTo>
                  <a:cubicBezTo>
                    <a:pt x="10422" y="3497"/>
                    <a:pt x="10404" y="3454"/>
                    <a:pt x="10415" y="3403"/>
                  </a:cubicBezTo>
                  <a:cubicBezTo>
                    <a:pt x="10424" y="3362"/>
                    <a:pt x="10427" y="3321"/>
                    <a:pt x="10431" y="3279"/>
                  </a:cubicBezTo>
                  <a:cubicBezTo>
                    <a:pt x="10434" y="3238"/>
                    <a:pt x="10458" y="3226"/>
                    <a:pt x="10495" y="3246"/>
                  </a:cubicBezTo>
                  <a:cubicBezTo>
                    <a:pt x="10511" y="3255"/>
                    <a:pt x="10526" y="3267"/>
                    <a:pt x="10540" y="3279"/>
                  </a:cubicBezTo>
                  <a:cubicBezTo>
                    <a:pt x="10591" y="3328"/>
                    <a:pt x="10630" y="3380"/>
                    <a:pt x="10618" y="3459"/>
                  </a:cubicBezTo>
                  <a:cubicBezTo>
                    <a:pt x="10610" y="3507"/>
                    <a:pt x="10616" y="3557"/>
                    <a:pt x="10616" y="3611"/>
                  </a:cubicBezTo>
                  <a:close/>
                  <a:moveTo>
                    <a:pt x="14443" y="4193"/>
                  </a:moveTo>
                  <a:cubicBezTo>
                    <a:pt x="14429" y="4145"/>
                    <a:pt x="14396" y="4131"/>
                    <a:pt x="14358" y="4124"/>
                  </a:cubicBezTo>
                  <a:cubicBezTo>
                    <a:pt x="14327" y="4118"/>
                    <a:pt x="14296" y="4122"/>
                    <a:pt x="14265" y="4126"/>
                  </a:cubicBezTo>
                  <a:cubicBezTo>
                    <a:pt x="14227" y="4131"/>
                    <a:pt x="14193" y="4125"/>
                    <a:pt x="14158" y="4103"/>
                  </a:cubicBezTo>
                  <a:cubicBezTo>
                    <a:pt x="14124" y="4082"/>
                    <a:pt x="14097" y="4054"/>
                    <a:pt x="14068" y="4027"/>
                  </a:cubicBezTo>
                  <a:cubicBezTo>
                    <a:pt x="14026" y="3986"/>
                    <a:pt x="14004" y="3988"/>
                    <a:pt x="13968" y="4037"/>
                  </a:cubicBezTo>
                  <a:cubicBezTo>
                    <a:pt x="13965" y="4042"/>
                    <a:pt x="13961" y="4047"/>
                    <a:pt x="13958" y="4052"/>
                  </a:cubicBezTo>
                  <a:cubicBezTo>
                    <a:pt x="13932" y="4097"/>
                    <a:pt x="13892" y="4125"/>
                    <a:pt x="13848" y="4150"/>
                  </a:cubicBezTo>
                  <a:cubicBezTo>
                    <a:pt x="13793" y="4182"/>
                    <a:pt x="13739" y="4219"/>
                    <a:pt x="13686" y="4255"/>
                  </a:cubicBezTo>
                  <a:cubicBezTo>
                    <a:pt x="13622" y="4298"/>
                    <a:pt x="13589" y="4362"/>
                    <a:pt x="13578" y="4437"/>
                  </a:cubicBezTo>
                  <a:cubicBezTo>
                    <a:pt x="13565" y="4528"/>
                    <a:pt x="13558" y="4618"/>
                    <a:pt x="13572" y="4710"/>
                  </a:cubicBezTo>
                  <a:cubicBezTo>
                    <a:pt x="13579" y="4755"/>
                    <a:pt x="13593" y="4799"/>
                    <a:pt x="13602" y="4843"/>
                  </a:cubicBezTo>
                  <a:cubicBezTo>
                    <a:pt x="13627" y="4976"/>
                    <a:pt x="13628" y="5112"/>
                    <a:pt x="13656" y="5245"/>
                  </a:cubicBezTo>
                  <a:cubicBezTo>
                    <a:pt x="13670" y="5314"/>
                    <a:pt x="13670" y="5385"/>
                    <a:pt x="13661" y="5456"/>
                  </a:cubicBezTo>
                  <a:cubicBezTo>
                    <a:pt x="13656" y="5490"/>
                    <a:pt x="13673" y="5502"/>
                    <a:pt x="13706" y="5491"/>
                  </a:cubicBezTo>
                  <a:cubicBezTo>
                    <a:pt x="13735" y="5481"/>
                    <a:pt x="13764" y="5469"/>
                    <a:pt x="13791" y="5454"/>
                  </a:cubicBezTo>
                  <a:cubicBezTo>
                    <a:pt x="13868" y="5409"/>
                    <a:pt x="13874" y="5363"/>
                    <a:pt x="13806" y="5305"/>
                  </a:cubicBezTo>
                  <a:cubicBezTo>
                    <a:pt x="13758" y="5264"/>
                    <a:pt x="13742" y="5204"/>
                    <a:pt x="13713" y="5152"/>
                  </a:cubicBezTo>
                  <a:cubicBezTo>
                    <a:pt x="13698" y="5127"/>
                    <a:pt x="13724" y="5098"/>
                    <a:pt x="13754" y="5099"/>
                  </a:cubicBezTo>
                  <a:cubicBezTo>
                    <a:pt x="13819" y="5102"/>
                    <a:pt x="13880" y="5156"/>
                    <a:pt x="13892" y="5223"/>
                  </a:cubicBezTo>
                  <a:cubicBezTo>
                    <a:pt x="13897" y="5245"/>
                    <a:pt x="13900" y="5268"/>
                    <a:pt x="13904" y="5291"/>
                  </a:cubicBezTo>
                  <a:cubicBezTo>
                    <a:pt x="13908" y="5318"/>
                    <a:pt x="13924" y="5330"/>
                    <a:pt x="13952" y="5327"/>
                  </a:cubicBezTo>
                  <a:cubicBezTo>
                    <a:pt x="13999" y="5321"/>
                    <a:pt x="14033" y="5299"/>
                    <a:pt x="14055" y="5256"/>
                  </a:cubicBezTo>
                  <a:cubicBezTo>
                    <a:pt x="14086" y="5191"/>
                    <a:pt x="14143" y="5158"/>
                    <a:pt x="14209" y="5138"/>
                  </a:cubicBezTo>
                  <a:cubicBezTo>
                    <a:pt x="14242" y="5128"/>
                    <a:pt x="14255" y="5138"/>
                    <a:pt x="14257" y="5173"/>
                  </a:cubicBezTo>
                  <a:cubicBezTo>
                    <a:pt x="14258" y="5196"/>
                    <a:pt x="14258" y="5219"/>
                    <a:pt x="14257" y="5242"/>
                  </a:cubicBezTo>
                  <a:cubicBezTo>
                    <a:pt x="14254" y="5285"/>
                    <a:pt x="14239" y="5319"/>
                    <a:pt x="14193" y="5331"/>
                  </a:cubicBezTo>
                  <a:cubicBezTo>
                    <a:pt x="14181" y="5334"/>
                    <a:pt x="14170" y="5341"/>
                    <a:pt x="14159" y="5346"/>
                  </a:cubicBezTo>
                  <a:cubicBezTo>
                    <a:pt x="14129" y="5360"/>
                    <a:pt x="14127" y="5372"/>
                    <a:pt x="14150" y="5395"/>
                  </a:cubicBezTo>
                  <a:cubicBezTo>
                    <a:pt x="14177" y="5423"/>
                    <a:pt x="14208" y="5439"/>
                    <a:pt x="14248" y="5444"/>
                  </a:cubicBezTo>
                  <a:cubicBezTo>
                    <a:pt x="14352" y="5457"/>
                    <a:pt x="14431" y="5561"/>
                    <a:pt x="14416" y="5663"/>
                  </a:cubicBezTo>
                  <a:cubicBezTo>
                    <a:pt x="14410" y="5698"/>
                    <a:pt x="14395" y="5710"/>
                    <a:pt x="14360" y="5698"/>
                  </a:cubicBezTo>
                  <a:cubicBezTo>
                    <a:pt x="14319" y="5683"/>
                    <a:pt x="14280" y="5663"/>
                    <a:pt x="14240" y="5647"/>
                  </a:cubicBezTo>
                  <a:cubicBezTo>
                    <a:pt x="14203" y="5633"/>
                    <a:pt x="14182" y="5609"/>
                    <a:pt x="14173" y="5571"/>
                  </a:cubicBezTo>
                  <a:cubicBezTo>
                    <a:pt x="14164" y="5534"/>
                    <a:pt x="14140" y="5505"/>
                    <a:pt x="14118" y="5474"/>
                  </a:cubicBezTo>
                  <a:cubicBezTo>
                    <a:pt x="14110" y="5464"/>
                    <a:pt x="14100" y="5455"/>
                    <a:pt x="14087" y="5466"/>
                  </a:cubicBezTo>
                  <a:cubicBezTo>
                    <a:pt x="14077" y="5474"/>
                    <a:pt x="14077" y="5487"/>
                    <a:pt x="14084" y="5495"/>
                  </a:cubicBezTo>
                  <a:cubicBezTo>
                    <a:pt x="14123" y="5542"/>
                    <a:pt x="14118" y="5605"/>
                    <a:pt x="14145" y="5657"/>
                  </a:cubicBezTo>
                  <a:cubicBezTo>
                    <a:pt x="14159" y="5683"/>
                    <a:pt x="14147" y="5700"/>
                    <a:pt x="14120" y="5694"/>
                  </a:cubicBezTo>
                  <a:cubicBezTo>
                    <a:pt x="14033" y="5674"/>
                    <a:pt x="13953" y="5630"/>
                    <a:pt x="13955" y="5522"/>
                  </a:cubicBezTo>
                  <a:cubicBezTo>
                    <a:pt x="13955" y="5513"/>
                    <a:pt x="13956" y="5505"/>
                    <a:pt x="13957" y="5497"/>
                  </a:cubicBezTo>
                  <a:cubicBezTo>
                    <a:pt x="13958" y="5486"/>
                    <a:pt x="13958" y="5475"/>
                    <a:pt x="13948" y="5469"/>
                  </a:cubicBezTo>
                  <a:cubicBezTo>
                    <a:pt x="13936" y="5461"/>
                    <a:pt x="13924" y="5468"/>
                    <a:pt x="13915" y="5478"/>
                  </a:cubicBezTo>
                  <a:cubicBezTo>
                    <a:pt x="13905" y="5488"/>
                    <a:pt x="13895" y="5499"/>
                    <a:pt x="13886" y="5510"/>
                  </a:cubicBezTo>
                  <a:cubicBezTo>
                    <a:pt x="13857" y="5547"/>
                    <a:pt x="13819" y="5570"/>
                    <a:pt x="13776" y="5588"/>
                  </a:cubicBezTo>
                  <a:cubicBezTo>
                    <a:pt x="13678" y="5630"/>
                    <a:pt x="13610" y="5692"/>
                    <a:pt x="13615" y="5813"/>
                  </a:cubicBezTo>
                  <a:cubicBezTo>
                    <a:pt x="13617" y="5868"/>
                    <a:pt x="13622" y="5910"/>
                    <a:pt x="13673" y="5938"/>
                  </a:cubicBezTo>
                  <a:cubicBezTo>
                    <a:pt x="13696" y="5951"/>
                    <a:pt x="13725" y="5968"/>
                    <a:pt x="13717" y="6001"/>
                  </a:cubicBezTo>
                  <a:cubicBezTo>
                    <a:pt x="13709" y="6033"/>
                    <a:pt x="13677" y="6032"/>
                    <a:pt x="13650" y="6036"/>
                  </a:cubicBezTo>
                  <a:cubicBezTo>
                    <a:pt x="13603" y="6044"/>
                    <a:pt x="13596" y="6053"/>
                    <a:pt x="13608" y="6098"/>
                  </a:cubicBezTo>
                  <a:cubicBezTo>
                    <a:pt x="13623" y="6153"/>
                    <a:pt x="13632" y="6208"/>
                    <a:pt x="13631" y="6265"/>
                  </a:cubicBezTo>
                  <a:cubicBezTo>
                    <a:pt x="13630" y="6279"/>
                    <a:pt x="13628" y="6296"/>
                    <a:pt x="13645" y="6302"/>
                  </a:cubicBezTo>
                  <a:cubicBezTo>
                    <a:pt x="13661" y="6308"/>
                    <a:pt x="13674" y="6300"/>
                    <a:pt x="13685" y="6291"/>
                  </a:cubicBezTo>
                  <a:cubicBezTo>
                    <a:pt x="13707" y="6274"/>
                    <a:pt x="13725" y="6255"/>
                    <a:pt x="13752" y="6245"/>
                  </a:cubicBezTo>
                  <a:cubicBezTo>
                    <a:pt x="13827" y="6217"/>
                    <a:pt x="13838" y="6192"/>
                    <a:pt x="13814" y="6118"/>
                  </a:cubicBezTo>
                  <a:cubicBezTo>
                    <a:pt x="13802" y="6080"/>
                    <a:pt x="13797" y="6044"/>
                    <a:pt x="13819" y="6010"/>
                  </a:cubicBezTo>
                  <a:cubicBezTo>
                    <a:pt x="13842" y="5973"/>
                    <a:pt x="13865" y="5936"/>
                    <a:pt x="13885" y="5897"/>
                  </a:cubicBezTo>
                  <a:cubicBezTo>
                    <a:pt x="13896" y="5874"/>
                    <a:pt x="13912" y="5874"/>
                    <a:pt x="13929" y="5891"/>
                  </a:cubicBezTo>
                  <a:cubicBezTo>
                    <a:pt x="13979" y="5947"/>
                    <a:pt x="13984" y="6075"/>
                    <a:pt x="13937" y="6136"/>
                  </a:cubicBezTo>
                  <a:cubicBezTo>
                    <a:pt x="13920" y="6159"/>
                    <a:pt x="13902" y="6183"/>
                    <a:pt x="13887" y="6208"/>
                  </a:cubicBezTo>
                  <a:cubicBezTo>
                    <a:pt x="13873" y="6233"/>
                    <a:pt x="13886" y="6254"/>
                    <a:pt x="13916" y="6251"/>
                  </a:cubicBezTo>
                  <a:cubicBezTo>
                    <a:pt x="13941" y="6249"/>
                    <a:pt x="13964" y="6243"/>
                    <a:pt x="13983" y="6224"/>
                  </a:cubicBezTo>
                  <a:cubicBezTo>
                    <a:pt x="14029" y="6179"/>
                    <a:pt x="14080" y="6138"/>
                    <a:pt x="14123" y="6090"/>
                  </a:cubicBezTo>
                  <a:cubicBezTo>
                    <a:pt x="14168" y="6041"/>
                    <a:pt x="14217" y="6055"/>
                    <a:pt x="14265" y="6078"/>
                  </a:cubicBezTo>
                  <a:cubicBezTo>
                    <a:pt x="14290" y="6090"/>
                    <a:pt x="14307" y="6128"/>
                    <a:pt x="14336" y="6119"/>
                  </a:cubicBezTo>
                  <a:cubicBezTo>
                    <a:pt x="14365" y="6110"/>
                    <a:pt x="14373" y="6071"/>
                    <a:pt x="14392" y="6047"/>
                  </a:cubicBezTo>
                  <a:cubicBezTo>
                    <a:pt x="14413" y="6020"/>
                    <a:pt x="14408" y="6009"/>
                    <a:pt x="14373" y="6000"/>
                  </a:cubicBezTo>
                  <a:cubicBezTo>
                    <a:pt x="14310" y="5982"/>
                    <a:pt x="14259" y="5942"/>
                    <a:pt x="14199" y="5917"/>
                  </a:cubicBezTo>
                  <a:cubicBezTo>
                    <a:pt x="14171" y="5906"/>
                    <a:pt x="14172" y="5881"/>
                    <a:pt x="14199" y="5866"/>
                  </a:cubicBezTo>
                  <a:cubicBezTo>
                    <a:pt x="14235" y="5846"/>
                    <a:pt x="14271" y="5825"/>
                    <a:pt x="14310" y="5811"/>
                  </a:cubicBezTo>
                  <a:cubicBezTo>
                    <a:pt x="14396" y="5779"/>
                    <a:pt x="14468" y="5801"/>
                    <a:pt x="14507" y="5877"/>
                  </a:cubicBezTo>
                  <a:cubicBezTo>
                    <a:pt x="14528" y="5920"/>
                    <a:pt x="14562" y="5930"/>
                    <a:pt x="14600" y="5940"/>
                  </a:cubicBezTo>
                  <a:cubicBezTo>
                    <a:pt x="14611" y="5943"/>
                    <a:pt x="14621" y="5943"/>
                    <a:pt x="14628" y="5933"/>
                  </a:cubicBezTo>
                  <a:cubicBezTo>
                    <a:pt x="14634" y="5924"/>
                    <a:pt x="14634" y="5912"/>
                    <a:pt x="14628" y="5904"/>
                  </a:cubicBezTo>
                  <a:cubicBezTo>
                    <a:pt x="14591" y="5859"/>
                    <a:pt x="14577" y="5805"/>
                    <a:pt x="14562" y="5750"/>
                  </a:cubicBezTo>
                  <a:cubicBezTo>
                    <a:pt x="14558" y="5735"/>
                    <a:pt x="14545" y="5722"/>
                    <a:pt x="14535" y="5709"/>
                  </a:cubicBezTo>
                  <a:cubicBezTo>
                    <a:pt x="14523" y="5691"/>
                    <a:pt x="14487" y="5682"/>
                    <a:pt x="14501" y="5657"/>
                  </a:cubicBezTo>
                  <a:cubicBezTo>
                    <a:pt x="14513" y="5635"/>
                    <a:pt x="14544" y="5654"/>
                    <a:pt x="14566" y="5652"/>
                  </a:cubicBezTo>
                  <a:cubicBezTo>
                    <a:pt x="14574" y="5651"/>
                    <a:pt x="14582" y="5652"/>
                    <a:pt x="14591" y="5653"/>
                  </a:cubicBezTo>
                  <a:cubicBezTo>
                    <a:pt x="14662" y="5664"/>
                    <a:pt x="14717" y="5717"/>
                    <a:pt x="14726" y="5789"/>
                  </a:cubicBezTo>
                  <a:cubicBezTo>
                    <a:pt x="14731" y="5831"/>
                    <a:pt x="14734" y="5872"/>
                    <a:pt x="14734" y="5914"/>
                  </a:cubicBezTo>
                  <a:cubicBezTo>
                    <a:pt x="14733" y="5959"/>
                    <a:pt x="14738" y="6000"/>
                    <a:pt x="14765" y="6038"/>
                  </a:cubicBezTo>
                  <a:cubicBezTo>
                    <a:pt x="14781" y="6061"/>
                    <a:pt x="14785" y="6099"/>
                    <a:pt x="14820" y="6098"/>
                  </a:cubicBezTo>
                  <a:cubicBezTo>
                    <a:pt x="14858" y="6096"/>
                    <a:pt x="14865" y="6055"/>
                    <a:pt x="14874" y="6028"/>
                  </a:cubicBezTo>
                  <a:cubicBezTo>
                    <a:pt x="14914" y="5916"/>
                    <a:pt x="14937" y="5800"/>
                    <a:pt x="14940" y="5681"/>
                  </a:cubicBezTo>
                  <a:cubicBezTo>
                    <a:pt x="14940" y="5650"/>
                    <a:pt x="14935" y="5617"/>
                    <a:pt x="14949" y="5589"/>
                  </a:cubicBezTo>
                  <a:cubicBezTo>
                    <a:pt x="14970" y="5545"/>
                    <a:pt x="14976" y="5497"/>
                    <a:pt x="14991" y="5452"/>
                  </a:cubicBezTo>
                  <a:cubicBezTo>
                    <a:pt x="15020" y="5363"/>
                    <a:pt x="14993" y="5302"/>
                    <a:pt x="14915" y="5266"/>
                  </a:cubicBezTo>
                  <a:cubicBezTo>
                    <a:pt x="14870" y="5244"/>
                    <a:pt x="14830" y="5218"/>
                    <a:pt x="14806" y="5169"/>
                  </a:cubicBezTo>
                  <a:cubicBezTo>
                    <a:pt x="14787" y="5130"/>
                    <a:pt x="14747" y="5125"/>
                    <a:pt x="14710" y="5150"/>
                  </a:cubicBezTo>
                  <a:cubicBezTo>
                    <a:pt x="14685" y="5168"/>
                    <a:pt x="14661" y="5189"/>
                    <a:pt x="14639" y="5211"/>
                  </a:cubicBezTo>
                  <a:cubicBezTo>
                    <a:pt x="14562" y="5285"/>
                    <a:pt x="14471" y="5284"/>
                    <a:pt x="14376" y="5263"/>
                  </a:cubicBezTo>
                  <a:cubicBezTo>
                    <a:pt x="14359" y="5259"/>
                    <a:pt x="14353" y="5248"/>
                    <a:pt x="14360" y="5231"/>
                  </a:cubicBezTo>
                  <a:cubicBezTo>
                    <a:pt x="14380" y="5182"/>
                    <a:pt x="14409" y="5139"/>
                    <a:pt x="14439" y="5097"/>
                  </a:cubicBezTo>
                  <a:cubicBezTo>
                    <a:pt x="14453" y="5080"/>
                    <a:pt x="14475" y="5070"/>
                    <a:pt x="14499" y="5067"/>
                  </a:cubicBezTo>
                  <a:cubicBezTo>
                    <a:pt x="14525" y="5063"/>
                    <a:pt x="14549" y="5065"/>
                    <a:pt x="14574" y="5070"/>
                  </a:cubicBezTo>
                  <a:cubicBezTo>
                    <a:pt x="14600" y="5075"/>
                    <a:pt x="14628" y="5077"/>
                    <a:pt x="14654" y="5070"/>
                  </a:cubicBezTo>
                  <a:cubicBezTo>
                    <a:pt x="14668" y="5066"/>
                    <a:pt x="14674" y="5051"/>
                    <a:pt x="14661" y="5041"/>
                  </a:cubicBezTo>
                  <a:cubicBezTo>
                    <a:pt x="14608" y="5001"/>
                    <a:pt x="14539" y="4973"/>
                    <a:pt x="14473" y="5030"/>
                  </a:cubicBezTo>
                  <a:cubicBezTo>
                    <a:pt x="14426" y="5070"/>
                    <a:pt x="14370" y="5093"/>
                    <a:pt x="14322" y="5129"/>
                  </a:cubicBezTo>
                  <a:cubicBezTo>
                    <a:pt x="14294" y="5150"/>
                    <a:pt x="14282" y="5143"/>
                    <a:pt x="14279" y="5109"/>
                  </a:cubicBezTo>
                  <a:cubicBezTo>
                    <a:pt x="14278" y="5095"/>
                    <a:pt x="14279" y="5080"/>
                    <a:pt x="14281" y="5066"/>
                  </a:cubicBezTo>
                  <a:cubicBezTo>
                    <a:pt x="14289" y="4987"/>
                    <a:pt x="14335" y="4948"/>
                    <a:pt x="14414" y="4952"/>
                  </a:cubicBezTo>
                  <a:cubicBezTo>
                    <a:pt x="14424" y="4953"/>
                    <a:pt x="14435" y="4959"/>
                    <a:pt x="14441" y="4946"/>
                  </a:cubicBezTo>
                  <a:cubicBezTo>
                    <a:pt x="14442" y="4944"/>
                    <a:pt x="14443" y="4942"/>
                    <a:pt x="14442" y="4940"/>
                  </a:cubicBezTo>
                  <a:cubicBezTo>
                    <a:pt x="14440" y="4937"/>
                    <a:pt x="14438" y="4932"/>
                    <a:pt x="14435" y="4930"/>
                  </a:cubicBezTo>
                  <a:cubicBezTo>
                    <a:pt x="14394" y="4912"/>
                    <a:pt x="14353" y="4900"/>
                    <a:pt x="14311" y="4931"/>
                  </a:cubicBezTo>
                  <a:cubicBezTo>
                    <a:pt x="14279" y="4954"/>
                    <a:pt x="14246" y="4960"/>
                    <a:pt x="14206" y="4949"/>
                  </a:cubicBezTo>
                  <a:cubicBezTo>
                    <a:pt x="14145" y="4931"/>
                    <a:pt x="14082" y="4928"/>
                    <a:pt x="14024" y="4963"/>
                  </a:cubicBezTo>
                  <a:cubicBezTo>
                    <a:pt x="14019" y="4966"/>
                    <a:pt x="14012" y="4967"/>
                    <a:pt x="14007" y="4957"/>
                  </a:cubicBezTo>
                  <a:cubicBezTo>
                    <a:pt x="14000" y="4945"/>
                    <a:pt x="14005" y="4932"/>
                    <a:pt x="14014" y="4919"/>
                  </a:cubicBezTo>
                  <a:cubicBezTo>
                    <a:pt x="14036" y="4886"/>
                    <a:pt x="14056" y="4852"/>
                    <a:pt x="14080" y="4821"/>
                  </a:cubicBezTo>
                  <a:cubicBezTo>
                    <a:pt x="14137" y="4751"/>
                    <a:pt x="14219" y="4746"/>
                    <a:pt x="14287" y="4808"/>
                  </a:cubicBezTo>
                  <a:cubicBezTo>
                    <a:pt x="14322" y="4840"/>
                    <a:pt x="14397" y="4861"/>
                    <a:pt x="14455" y="4852"/>
                  </a:cubicBezTo>
                  <a:cubicBezTo>
                    <a:pt x="14443" y="4831"/>
                    <a:pt x="14428" y="4814"/>
                    <a:pt x="14406" y="4805"/>
                  </a:cubicBezTo>
                  <a:cubicBezTo>
                    <a:pt x="14352" y="4783"/>
                    <a:pt x="14324" y="4746"/>
                    <a:pt x="14325" y="4686"/>
                  </a:cubicBezTo>
                  <a:cubicBezTo>
                    <a:pt x="14326" y="4670"/>
                    <a:pt x="14317" y="4653"/>
                    <a:pt x="14315" y="4637"/>
                  </a:cubicBezTo>
                  <a:cubicBezTo>
                    <a:pt x="14309" y="4604"/>
                    <a:pt x="14318" y="4594"/>
                    <a:pt x="14351" y="4600"/>
                  </a:cubicBezTo>
                  <a:cubicBezTo>
                    <a:pt x="14416" y="4613"/>
                    <a:pt x="14471" y="4644"/>
                    <a:pt x="14519" y="4690"/>
                  </a:cubicBezTo>
                  <a:cubicBezTo>
                    <a:pt x="14548" y="4718"/>
                    <a:pt x="14565" y="4751"/>
                    <a:pt x="14558" y="4790"/>
                  </a:cubicBezTo>
                  <a:cubicBezTo>
                    <a:pt x="14550" y="4836"/>
                    <a:pt x="14569" y="4867"/>
                    <a:pt x="14603" y="4892"/>
                  </a:cubicBezTo>
                  <a:cubicBezTo>
                    <a:pt x="14624" y="4909"/>
                    <a:pt x="14645" y="4926"/>
                    <a:pt x="14667" y="4942"/>
                  </a:cubicBezTo>
                  <a:cubicBezTo>
                    <a:pt x="14678" y="4950"/>
                    <a:pt x="14691" y="4965"/>
                    <a:pt x="14705" y="4954"/>
                  </a:cubicBezTo>
                  <a:cubicBezTo>
                    <a:pt x="14722" y="4941"/>
                    <a:pt x="14713" y="4923"/>
                    <a:pt x="14706" y="4908"/>
                  </a:cubicBezTo>
                  <a:cubicBezTo>
                    <a:pt x="14684" y="4863"/>
                    <a:pt x="14687" y="4815"/>
                    <a:pt x="14692" y="4768"/>
                  </a:cubicBezTo>
                  <a:cubicBezTo>
                    <a:pt x="14694" y="4747"/>
                    <a:pt x="14702" y="4727"/>
                    <a:pt x="14702" y="4706"/>
                  </a:cubicBezTo>
                  <a:cubicBezTo>
                    <a:pt x="14702" y="4633"/>
                    <a:pt x="14689" y="4584"/>
                    <a:pt x="14600" y="4582"/>
                  </a:cubicBezTo>
                  <a:cubicBezTo>
                    <a:pt x="14517" y="4579"/>
                    <a:pt x="14459" y="4528"/>
                    <a:pt x="14406" y="4471"/>
                  </a:cubicBezTo>
                  <a:cubicBezTo>
                    <a:pt x="14380" y="4443"/>
                    <a:pt x="14386" y="4426"/>
                    <a:pt x="14421" y="4409"/>
                  </a:cubicBezTo>
                  <a:cubicBezTo>
                    <a:pt x="14475" y="4383"/>
                    <a:pt x="14526" y="4392"/>
                    <a:pt x="14575" y="4422"/>
                  </a:cubicBezTo>
                  <a:cubicBezTo>
                    <a:pt x="14598" y="4436"/>
                    <a:pt x="14620" y="4454"/>
                    <a:pt x="14655" y="4455"/>
                  </a:cubicBezTo>
                  <a:cubicBezTo>
                    <a:pt x="14643" y="4415"/>
                    <a:pt x="14631" y="4383"/>
                    <a:pt x="14613" y="4352"/>
                  </a:cubicBezTo>
                  <a:cubicBezTo>
                    <a:pt x="14566" y="4271"/>
                    <a:pt x="14528" y="4260"/>
                    <a:pt x="14445" y="4303"/>
                  </a:cubicBezTo>
                  <a:cubicBezTo>
                    <a:pt x="14443" y="4304"/>
                    <a:pt x="14442" y="4306"/>
                    <a:pt x="14440" y="4307"/>
                  </a:cubicBezTo>
                  <a:cubicBezTo>
                    <a:pt x="14372" y="4341"/>
                    <a:pt x="14301" y="4345"/>
                    <a:pt x="14228" y="4322"/>
                  </a:cubicBezTo>
                  <a:cubicBezTo>
                    <a:pt x="14205" y="4315"/>
                    <a:pt x="14192" y="4303"/>
                    <a:pt x="14198" y="4277"/>
                  </a:cubicBezTo>
                  <a:cubicBezTo>
                    <a:pt x="14213" y="4219"/>
                    <a:pt x="14261" y="4182"/>
                    <a:pt x="14323" y="4184"/>
                  </a:cubicBezTo>
                  <a:cubicBezTo>
                    <a:pt x="14360" y="4185"/>
                    <a:pt x="14397" y="4190"/>
                    <a:pt x="14443" y="4193"/>
                  </a:cubicBezTo>
                  <a:close/>
                  <a:moveTo>
                    <a:pt x="7677" y="11198"/>
                  </a:moveTo>
                  <a:cubicBezTo>
                    <a:pt x="7676" y="11230"/>
                    <a:pt x="7692" y="11241"/>
                    <a:pt x="7718" y="11224"/>
                  </a:cubicBezTo>
                  <a:cubicBezTo>
                    <a:pt x="7750" y="11204"/>
                    <a:pt x="7788" y="11197"/>
                    <a:pt x="7822" y="11182"/>
                  </a:cubicBezTo>
                  <a:cubicBezTo>
                    <a:pt x="7863" y="11164"/>
                    <a:pt x="7913" y="11159"/>
                    <a:pt x="7940" y="11118"/>
                  </a:cubicBezTo>
                  <a:cubicBezTo>
                    <a:pt x="7961" y="11088"/>
                    <a:pt x="7985" y="11065"/>
                    <a:pt x="8015" y="11045"/>
                  </a:cubicBezTo>
                  <a:cubicBezTo>
                    <a:pt x="8032" y="11034"/>
                    <a:pt x="8049" y="11019"/>
                    <a:pt x="8060" y="11002"/>
                  </a:cubicBezTo>
                  <a:cubicBezTo>
                    <a:pt x="8094" y="10947"/>
                    <a:pt x="8132" y="10895"/>
                    <a:pt x="8160" y="10836"/>
                  </a:cubicBezTo>
                  <a:cubicBezTo>
                    <a:pt x="8219" y="10712"/>
                    <a:pt x="8287" y="10593"/>
                    <a:pt x="8356" y="10475"/>
                  </a:cubicBezTo>
                  <a:cubicBezTo>
                    <a:pt x="8440" y="10329"/>
                    <a:pt x="8526" y="10184"/>
                    <a:pt x="8610" y="10038"/>
                  </a:cubicBezTo>
                  <a:cubicBezTo>
                    <a:pt x="8669" y="9936"/>
                    <a:pt x="8723" y="9832"/>
                    <a:pt x="8781" y="9729"/>
                  </a:cubicBezTo>
                  <a:cubicBezTo>
                    <a:pt x="8829" y="9646"/>
                    <a:pt x="8882" y="9567"/>
                    <a:pt x="8925" y="9482"/>
                  </a:cubicBezTo>
                  <a:cubicBezTo>
                    <a:pt x="9008" y="9319"/>
                    <a:pt x="9108" y="9166"/>
                    <a:pt x="9194" y="9005"/>
                  </a:cubicBezTo>
                  <a:cubicBezTo>
                    <a:pt x="9265" y="8871"/>
                    <a:pt x="9360" y="8750"/>
                    <a:pt x="9398" y="8600"/>
                  </a:cubicBezTo>
                  <a:cubicBezTo>
                    <a:pt x="9400" y="8591"/>
                    <a:pt x="9408" y="8582"/>
                    <a:pt x="9413" y="8573"/>
                  </a:cubicBezTo>
                  <a:cubicBezTo>
                    <a:pt x="9449" y="8508"/>
                    <a:pt x="9489" y="8444"/>
                    <a:pt x="9521" y="8377"/>
                  </a:cubicBezTo>
                  <a:cubicBezTo>
                    <a:pt x="9572" y="8272"/>
                    <a:pt x="9616" y="8166"/>
                    <a:pt x="9683" y="8070"/>
                  </a:cubicBezTo>
                  <a:cubicBezTo>
                    <a:pt x="9746" y="7980"/>
                    <a:pt x="9799" y="7883"/>
                    <a:pt x="9857" y="7790"/>
                  </a:cubicBezTo>
                  <a:cubicBezTo>
                    <a:pt x="9933" y="7670"/>
                    <a:pt x="9994" y="7543"/>
                    <a:pt x="10059" y="7418"/>
                  </a:cubicBezTo>
                  <a:cubicBezTo>
                    <a:pt x="10076" y="7385"/>
                    <a:pt x="10085" y="7348"/>
                    <a:pt x="10101" y="7314"/>
                  </a:cubicBezTo>
                  <a:cubicBezTo>
                    <a:pt x="10112" y="7292"/>
                    <a:pt x="10107" y="7270"/>
                    <a:pt x="10080" y="7266"/>
                  </a:cubicBezTo>
                  <a:cubicBezTo>
                    <a:pt x="9992" y="7252"/>
                    <a:pt x="9903" y="7237"/>
                    <a:pt x="9813" y="7240"/>
                  </a:cubicBezTo>
                  <a:cubicBezTo>
                    <a:pt x="9779" y="7241"/>
                    <a:pt x="9754" y="7256"/>
                    <a:pt x="9740" y="7288"/>
                  </a:cubicBezTo>
                  <a:cubicBezTo>
                    <a:pt x="9733" y="7306"/>
                    <a:pt x="9725" y="7323"/>
                    <a:pt x="9716" y="7339"/>
                  </a:cubicBezTo>
                  <a:cubicBezTo>
                    <a:pt x="9677" y="7415"/>
                    <a:pt x="9644" y="7493"/>
                    <a:pt x="9602" y="7568"/>
                  </a:cubicBezTo>
                  <a:cubicBezTo>
                    <a:pt x="9544" y="7673"/>
                    <a:pt x="9484" y="7778"/>
                    <a:pt x="9434" y="7887"/>
                  </a:cubicBezTo>
                  <a:cubicBezTo>
                    <a:pt x="9395" y="7973"/>
                    <a:pt x="9346" y="8053"/>
                    <a:pt x="9298" y="8132"/>
                  </a:cubicBezTo>
                  <a:cubicBezTo>
                    <a:pt x="9233" y="8238"/>
                    <a:pt x="9179" y="8350"/>
                    <a:pt x="9115" y="8457"/>
                  </a:cubicBezTo>
                  <a:cubicBezTo>
                    <a:pt x="9084" y="8508"/>
                    <a:pt x="9065" y="8565"/>
                    <a:pt x="9032" y="8616"/>
                  </a:cubicBezTo>
                  <a:cubicBezTo>
                    <a:pt x="8988" y="8683"/>
                    <a:pt x="8936" y="8746"/>
                    <a:pt x="8905" y="8822"/>
                  </a:cubicBezTo>
                  <a:cubicBezTo>
                    <a:pt x="8882" y="8876"/>
                    <a:pt x="8848" y="8927"/>
                    <a:pt x="8816" y="8977"/>
                  </a:cubicBezTo>
                  <a:cubicBezTo>
                    <a:pt x="8781" y="9031"/>
                    <a:pt x="8746" y="9085"/>
                    <a:pt x="8713" y="9140"/>
                  </a:cubicBezTo>
                  <a:cubicBezTo>
                    <a:pt x="8596" y="9336"/>
                    <a:pt x="8482" y="9534"/>
                    <a:pt x="8364" y="9729"/>
                  </a:cubicBezTo>
                  <a:cubicBezTo>
                    <a:pt x="8286" y="9857"/>
                    <a:pt x="8202" y="9981"/>
                    <a:pt x="8125" y="10108"/>
                  </a:cubicBezTo>
                  <a:cubicBezTo>
                    <a:pt x="8102" y="10148"/>
                    <a:pt x="8081" y="10191"/>
                    <a:pt x="8101" y="10244"/>
                  </a:cubicBezTo>
                  <a:cubicBezTo>
                    <a:pt x="8126" y="10308"/>
                    <a:pt x="8103" y="10363"/>
                    <a:pt x="8051" y="10405"/>
                  </a:cubicBezTo>
                  <a:cubicBezTo>
                    <a:pt x="7996" y="10450"/>
                    <a:pt x="7962" y="10507"/>
                    <a:pt x="7940" y="10574"/>
                  </a:cubicBezTo>
                  <a:cubicBezTo>
                    <a:pt x="7902" y="10689"/>
                    <a:pt x="7856" y="10800"/>
                    <a:pt x="7806" y="10909"/>
                  </a:cubicBezTo>
                  <a:cubicBezTo>
                    <a:pt x="7769" y="10990"/>
                    <a:pt x="7729" y="11070"/>
                    <a:pt x="7690" y="11150"/>
                  </a:cubicBezTo>
                  <a:cubicBezTo>
                    <a:pt x="7683" y="11166"/>
                    <a:pt x="7677" y="11181"/>
                    <a:pt x="7677" y="11198"/>
                  </a:cubicBezTo>
                  <a:close/>
                  <a:moveTo>
                    <a:pt x="11526" y="6784"/>
                  </a:moveTo>
                  <a:cubicBezTo>
                    <a:pt x="11532" y="6773"/>
                    <a:pt x="11536" y="6769"/>
                    <a:pt x="11535" y="6766"/>
                  </a:cubicBezTo>
                  <a:cubicBezTo>
                    <a:pt x="11513" y="6690"/>
                    <a:pt x="11542" y="6628"/>
                    <a:pt x="11592" y="6572"/>
                  </a:cubicBezTo>
                  <a:cubicBezTo>
                    <a:pt x="11614" y="6547"/>
                    <a:pt x="11627" y="6518"/>
                    <a:pt x="11630" y="6483"/>
                  </a:cubicBezTo>
                  <a:cubicBezTo>
                    <a:pt x="11633" y="6432"/>
                    <a:pt x="11671" y="6409"/>
                    <a:pt x="11721" y="6422"/>
                  </a:cubicBezTo>
                  <a:cubicBezTo>
                    <a:pt x="11729" y="6424"/>
                    <a:pt x="11737" y="6428"/>
                    <a:pt x="11745" y="6431"/>
                  </a:cubicBezTo>
                  <a:cubicBezTo>
                    <a:pt x="11756" y="6434"/>
                    <a:pt x="11766" y="6432"/>
                    <a:pt x="11773" y="6423"/>
                  </a:cubicBezTo>
                  <a:cubicBezTo>
                    <a:pt x="11779" y="6413"/>
                    <a:pt x="11777" y="6402"/>
                    <a:pt x="11770" y="6394"/>
                  </a:cubicBezTo>
                  <a:cubicBezTo>
                    <a:pt x="11739" y="6360"/>
                    <a:pt x="11713" y="6322"/>
                    <a:pt x="11675" y="6295"/>
                  </a:cubicBezTo>
                  <a:cubicBezTo>
                    <a:pt x="11624" y="6261"/>
                    <a:pt x="11571" y="6236"/>
                    <a:pt x="11506" y="6247"/>
                  </a:cubicBezTo>
                  <a:cubicBezTo>
                    <a:pt x="11454" y="6255"/>
                    <a:pt x="11402" y="6239"/>
                    <a:pt x="11351" y="6230"/>
                  </a:cubicBezTo>
                  <a:cubicBezTo>
                    <a:pt x="11315" y="6223"/>
                    <a:pt x="11282" y="6204"/>
                    <a:pt x="11248" y="6188"/>
                  </a:cubicBezTo>
                  <a:cubicBezTo>
                    <a:pt x="11231" y="6180"/>
                    <a:pt x="11219" y="6164"/>
                    <a:pt x="11241" y="6150"/>
                  </a:cubicBezTo>
                  <a:cubicBezTo>
                    <a:pt x="11286" y="6123"/>
                    <a:pt x="11331" y="6086"/>
                    <a:pt x="11390" y="6101"/>
                  </a:cubicBezTo>
                  <a:cubicBezTo>
                    <a:pt x="11430" y="6112"/>
                    <a:pt x="11472" y="6118"/>
                    <a:pt x="11509" y="6137"/>
                  </a:cubicBezTo>
                  <a:cubicBezTo>
                    <a:pt x="11522" y="6144"/>
                    <a:pt x="11535" y="6155"/>
                    <a:pt x="11549" y="6143"/>
                  </a:cubicBezTo>
                  <a:cubicBezTo>
                    <a:pt x="11564" y="6129"/>
                    <a:pt x="11549" y="6117"/>
                    <a:pt x="11544" y="6104"/>
                  </a:cubicBezTo>
                  <a:cubicBezTo>
                    <a:pt x="11542" y="6100"/>
                    <a:pt x="11539" y="6097"/>
                    <a:pt x="11537" y="6094"/>
                  </a:cubicBezTo>
                  <a:cubicBezTo>
                    <a:pt x="11528" y="6081"/>
                    <a:pt x="11519" y="6069"/>
                    <a:pt x="11533" y="6055"/>
                  </a:cubicBezTo>
                  <a:cubicBezTo>
                    <a:pt x="11543" y="6045"/>
                    <a:pt x="11555" y="6046"/>
                    <a:pt x="11567" y="6053"/>
                  </a:cubicBezTo>
                  <a:cubicBezTo>
                    <a:pt x="11593" y="6067"/>
                    <a:pt x="11602" y="6053"/>
                    <a:pt x="11601" y="6030"/>
                  </a:cubicBezTo>
                  <a:cubicBezTo>
                    <a:pt x="11601" y="5992"/>
                    <a:pt x="11607" y="5955"/>
                    <a:pt x="11615" y="5919"/>
                  </a:cubicBezTo>
                  <a:cubicBezTo>
                    <a:pt x="11623" y="5884"/>
                    <a:pt x="11615" y="5854"/>
                    <a:pt x="11581" y="5833"/>
                  </a:cubicBezTo>
                  <a:cubicBezTo>
                    <a:pt x="11549" y="5814"/>
                    <a:pt x="11520" y="5790"/>
                    <a:pt x="11493" y="5764"/>
                  </a:cubicBezTo>
                  <a:cubicBezTo>
                    <a:pt x="11472" y="5744"/>
                    <a:pt x="11442" y="5730"/>
                    <a:pt x="11411" y="5722"/>
                  </a:cubicBezTo>
                  <a:cubicBezTo>
                    <a:pt x="11339" y="5706"/>
                    <a:pt x="11266" y="5690"/>
                    <a:pt x="11194" y="5673"/>
                  </a:cubicBezTo>
                  <a:cubicBezTo>
                    <a:pt x="11123" y="5656"/>
                    <a:pt x="11050" y="5660"/>
                    <a:pt x="10977" y="5659"/>
                  </a:cubicBezTo>
                  <a:cubicBezTo>
                    <a:pt x="10954" y="5658"/>
                    <a:pt x="10938" y="5668"/>
                    <a:pt x="10928" y="5690"/>
                  </a:cubicBezTo>
                  <a:cubicBezTo>
                    <a:pt x="10863" y="5824"/>
                    <a:pt x="10799" y="5959"/>
                    <a:pt x="10730" y="6091"/>
                  </a:cubicBezTo>
                  <a:cubicBezTo>
                    <a:pt x="10686" y="6176"/>
                    <a:pt x="10645" y="6263"/>
                    <a:pt x="10606" y="6350"/>
                  </a:cubicBezTo>
                  <a:cubicBezTo>
                    <a:pt x="10549" y="6479"/>
                    <a:pt x="10492" y="6608"/>
                    <a:pt x="10436" y="6738"/>
                  </a:cubicBezTo>
                  <a:cubicBezTo>
                    <a:pt x="10418" y="6777"/>
                    <a:pt x="10404" y="6818"/>
                    <a:pt x="10383" y="6857"/>
                  </a:cubicBezTo>
                  <a:cubicBezTo>
                    <a:pt x="10349" y="6918"/>
                    <a:pt x="10326" y="6986"/>
                    <a:pt x="10299" y="7051"/>
                  </a:cubicBezTo>
                  <a:cubicBezTo>
                    <a:pt x="10290" y="7073"/>
                    <a:pt x="10298" y="7091"/>
                    <a:pt x="10320" y="7094"/>
                  </a:cubicBezTo>
                  <a:cubicBezTo>
                    <a:pt x="10385" y="7102"/>
                    <a:pt x="10443" y="7138"/>
                    <a:pt x="10506" y="7144"/>
                  </a:cubicBezTo>
                  <a:cubicBezTo>
                    <a:pt x="10579" y="7150"/>
                    <a:pt x="10636" y="7183"/>
                    <a:pt x="10694" y="7221"/>
                  </a:cubicBezTo>
                  <a:cubicBezTo>
                    <a:pt x="10744" y="7253"/>
                    <a:pt x="10772" y="7255"/>
                    <a:pt x="10818" y="7216"/>
                  </a:cubicBezTo>
                  <a:cubicBezTo>
                    <a:pt x="10853" y="7187"/>
                    <a:pt x="10890" y="7179"/>
                    <a:pt x="10934" y="7184"/>
                  </a:cubicBezTo>
                  <a:cubicBezTo>
                    <a:pt x="10967" y="7189"/>
                    <a:pt x="10999" y="7196"/>
                    <a:pt x="11026" y="7217"/>
                  </a:cubicBezTo>
                  <a:cubicBezTo>
                    <a:pt x="11039" y="7227"/>
                    <a:pt x="11050" y="7235"/>
                    <a:pt x="11065" y="7223"/>
                  </a:cubicBezTo>
                  <a:cubicBezTo>
                    <a:pt x="11078" y="7211"/>
                    <a:pt x="11075" y="7197"/>
                    <a:pt x="11069" y="7183"/>
                  </a:cubicBezTo>
                  <a:cubicBezTo>
                    <a:pt x="11065" y="7173"/>
                    <a:pt x="11060" y="7163"/>
                    <a:pt x="11053" y="7156"/>
                  </a:cubicBezTo>
                  <a:cubicBezTo>
                    <a:pt x="11004" y="7112"/>
                    <a:pt x="10998" y="7061"/>
                    <a:pt x="11028" y="7004"/>
                  </a:cubicBezTo>
                  <a:cubicBezTo>
                    <a:pt x="11034" y="6993"/>
                    <a:pt x="11036" y="6980"/>
                    <a:pt x="11040" y="6968"/>
                  </a:cubicBezTo>
                  <a:cubicBezTo>
                    <a:pt x="11058" y="6915"/>
                    <a:pt x="11077" y="6911"/>
                    <a:pt x="11117" y="6953"/>
                  </a:cubicBezTo>
                  <a:cubicBezTo>
                    <a:pt x="11149" y="6985"/>
                    <a:pt x="11168" y="7024"/>
                    <a:pt x="11177" y="7067"/>
                  </a:cubicBezTo>
                  <a:cubicBezTo>
                    <a:pt x="11187" y="7115"/>
                    <a:pt x="11193" y="7161"/>
                    <a:pt x="11172" y="7208"/>
                  </a:cubicBezTo>
                  <a:cubicBezTo>
                    <a:pt x="11161" y="7235"/>
                    <a:pt x="11162" y="7262"/>
                    <a:pt x="11190" y="7280"/>
                  </a:cubicBezTo>
                  <a:cubicBezTo>
                    <a:pt x="11223" y="7302"/>
                    <a:pt x="11256" y="7323"/>
                    <a:pt x="11289" y="7344"/>
                  </a:cubicBezTo>
                  <a:cubicBezTo>
                    <a:pt x="11296" y="7349"/>
                    <a:pt x="11304" y="7350"/>
                    <a:pt x="11312" y="7344"/>
                  </a:cubicBezTo>
                  <a:cubicBezTo>
                    <a:pt x="11319" y="7337"/>
                    <a:pt x="11319" y="7329"/>
                    <a:pt x="11317" y="7321"/>
                  </a:cubicBezTo>
                  <a:cubicBezTo>
                    <a:pt x="11315" y="7313"/>
                    <a:pt x="11312" y="7304"/>
                    <a:pt x="11307" y="7298"/>
                  </a:cubicBezTo>
                  <a:cubicBezTo>
                    <a:pt x="11252" y="7244"/>
                    <a:pt x="11257" y="7169"/>
                    <a:pt x="11239" y="7101"/>
                  </a:cubicBezTo>
                  <a:cubicBezTo>
                    <a:pt x="11235" y="7089"/>
                    <a:pt x="11233" y="7077"/>
                    <a:pt x="11247" y="7069"/>
                  </a:cubicBezTo>
                  <a:cubicBezTo>
                    <a:pt x="11257" y="7063"/>
                    <a:pt x="11267" y="7066"/>
                    <a:pt x="11277" y="7071"/>
                  </a:cubicBezTo>
                  <a:cubicBezTo>
                    <a:pt x="11316" y="7094"/>
                    <a:pt x="11358" y="7115"/>
                    <a:pt x="11388" y="7149"/>
                  </a:cubicBezTo>
                  <a:cubicBezTo>
                    <a:pt x="11423" y="7190"/>
                    <a:pt x="11453" y="7237"/>
                    <a:pt x="11466" y="7290"/>
                  </a:cubicBezTo>
                  <a:cubicBezTo>
                    <a:pt x="11475" y="7329"/>
                    <a:pt x="11450" y="7361"/>
                    <a:pt x="11433" y="7395"/>
                  </a:cubicBezTo>
                  <a:cubicBezTo>
                    <a:pt x="11408" y="7447"/>
                    <a:pt x="11414" y="7496"/>
                    <a:pt x="11459" y="7536"/>
                  </a:cubicBezTo>
                  <a:cubicBezTo>
                    <a:pt x="11507" y="7578"/>
                    <a:pt x="11543" y="7628"/>
                    <a:pt x="11576" y="7681"/>
                  </a:cubicBezTo>
                  <a:cubicBezTo>
                    <a:pt x="11580" y="7688"/>
                    <a:pt x="11586" y="7695"/>
                    <a:pt x="11592" y="7700"/>
                  </a:cubicBezTo>
                  <a:cubicBezTo>
                    <a:pt x="11611" y="7719"/>
                    <a:pt x="11628" y="7715"/>
                    <a:pt x="11630" y="7689"/>
                  </a:cubicBezTo>
                  <a:cubicBezTo>
                    <a:pt x="11634" y="7639"/>
                    <a:pt x="11661" y="7599"/>
                    <a:pt x="11683" y="7557"/>
                  </a:cubicBezTo>
                  <a:cubicBezTo>
                    <a:pt x="11725" y="7473"/>
                    <a:pt x="11738" y="7385"/>
                    <a:pt x="11723" y="7291"/>
                  </a:cubicBezTo>
                  <a:cubicBezTo>
                    <a:pt x="11714" y="7237"/>
                    <a:pt x="11685" y="7195"/>
                    <a:pt x="11667" y="7146"/>
                  </a:cubicBezTo>
                  <a:cubicBezTo>
                    <a:pt x="11647" y="7091"/>
                    <a:pt x="11605" y="7054"/>
                    <a:pt x="11563" y="7016"/>
                  </a:cubicBezTo>
                  <a:cubicBezTo>
                    <a:pt x="11544" y="6999"/>
                    <a:pt x="11518" y="6995"/>
                    <a:pt x="11492" y="7000"/>
                  </a:cubicBezTo>
                  <a:cubicBezTo>
                    <a:pt x="11468" y="7004"/>
                    <a:pt x="11442" y="7008"/>
                    <a:pt x="11420" y="7019"/>
                  </a:cubicBezTo>
                  <a:cubicBezTo>
                    <a:pt x="11390" y="7032"/>
                    <a:pt x="11366" y="7031"/>
                    <a:pt x="11338" y="7015"/>
                  </a:cubicBezTo>
                  <a:cubicBezTo>
                    <a:pt x="11298" y="6992"/>
                    <a:pt x="11257" y="6973"/>
                    <a:pt x="11216" y="6953"/>
                  </a:cubicBezTo>
                  <a:cubicBezTo>
                    <a:pt x="11204" y="6947"/>
                    <a:pt x="11191" y="6943"/>
                    <a:pt x="11193" y="6927"/>
                  </a:cubicBezTo>
                  <a:cubicBezTo>
                    <a:pt x="11194" y="6914"/>
                    <a:pt x="11203" y="6903"/>
                    <a:pt x="11215" y="6900"/>
                  </a:cubicBezTo>
                  <a:cubicBezTo>
                    <a:pt x="11236" y="6895"/>
                    <a:pt x="11251" y="6879"/>
                    <a:pt x="11270" y="6872"/>
                  </a:cubicBezTo>
                  <a:cubicBezTo>
                    <a:pt x="11329" y="6847"/>
                    <a:pt x="11390" y="6836"/>
                    <a:pt x="11445" y="6885"/>
                  </a:cubicBezTo>
                  <a:cubicBezTo>
                    <a:pt x="11461" y="6899"/>
                    <a:pt x="11480" y="6911"/>
                    <a:pt x="11507" y="6917"/>
                  </a:cubicBezTo>
                  <a:cubicBezTo>
                    <a:pt x="11501" y="6882"/>
                    <a:pt x="11482" y="6863"/>
                    <a:pt x="11462" y="6846"/>
                  </a:cubicBezTo>
                  <a:cubicBezTo>
                    <a:pt x="11418" y="6808"/>
                    <a:pt x="11370" y="6774"/>
                    <a:pt x="11330" y="6733"/>
                  </a:cubicBezTo>
                  <a:cubicBezTo>
                    <a:pt x="11297" y="6700"/>
                    <a:pt x="11259" y="6688"/>
                    <a:pt x="11222" y="6702"/>
                  </a:cubicBezTo>
                  <a:cubicBezTo>
                    <a:pt x="11168" y="6721"/>
                    <a:pt x="11120" y="6705"/>
                    <a:pt x="11070" y="6694"/>
                  </a:cubicBezTo>
                  <a:cubicBezTo>
                    <a:pt x="11038" y="6686"/>
                    <a:pt x="11008" y="6672"/>
                    <a:pt x="10974" y="6670"/>
                  </a:cubicBezTo>
                  <a:cubicBezTo>
                    <a:pt x="10943" y="6669"/>
                    <a:pt x="10934" y="6638"/>
                    <a:pt x="10954" y="6615"/>
                  </a:cubicBezTo>
                  <a:cubicBezTo>
                    <a:pt x="11004" y="6556"/>
                    <a:pt x="11085" y="6538"/>
                    <a:pt x="11159" y="6571"/>
                  </a:cubicBezTo>
                  <a:cubicBezTo>
                    <a:pt x="11181" y="6581"/>
                    <a:pt x="11206" y="6585"/>
                    <a:pt x="11226" y="6602"/>
                  </a:cubicBezTo>
                  <a:cubicBezTo>
                    <a:pt x="11235" y="6609"/>
                    <a:pt x="11246" y="6610"/>
                    <a:pt x="11254" y="6600"/>
                  </a:cubicBezTo>
                  <a:cubicBezTo>
                    <a:pt x="11259" y="6593"/>
                    <a:pt x="11258" y="6584"/>
                    <a:pt x="11253" y="6577"/>
                  </a:cubicBezTo>
                  <a:cubicBezTo>
                    <a:pt x="11223" y="6536"/>
                    <a:pt x="11191" y="6497"/>
                    <a:pt x="11135" y="6496"/>
                  </a:cubicBezTo>
                  <a:cubicBezTo>
                    <a:pt x="11106" y="6495"/>
                    <a:pt x="11083" y="6484"/>
                    <a:pt x="11060" y="6468"/>
                  </a:cubicBezTo>
                  <a:cubicBezTo>
                    <a:pt x="11004" y="6427"/>
                    <a:pt x="10965" y="6369"/>
                    <a:pt x="10921" y="6317"/>
                  </a:cubicBezTo>
                  <a:cubicBezTo>
                    <a:pt x="10900" y="6291"/>
                    <a:pt x="10910" y="6270"/>
                    <a:pt x="10945" y="6265"/>
                  </a:cubicBezTo>
                  <a:cubicBezTo>
                    <a:pt x="10974" y="6260"/>
                    <a:pt x="11003" y="6262"/>
                    <a:pt x="11032" y="6261"/>
                  </a:cubicBezTo>
                  <a:cubicBezTo>
                    <a:pt x="11134" y="6258"/>
                    <a:pt x="11191" y="6296"/>
                    <a:pt x="11225" y="6393"/>
                  </a:cubicBezTo>
                  <a:cubicBezTo>
                    <a:pt x="11237" y="6426"/>
                    <a:pt x="11252" y="6458"/>
                    <a:pt x="11261" y="6492"/>
                  </a:cubicBezTo>
                  <a:cubicBezTo>
                    <a:pt x="11266" y="6511"/>
                    <a:pt x="11276" y="6544"/>
                    <a:pt x="11302" y="6538"/>
                  </a:cubicBezTo>
                  <a:cubicBezTo>
                    <a:pt x="11326" y="6532"/>
                    <a:pt x="11316" y="6502"/>
                    <a:pt x="11311" y="6483"/>
                  </a:cubicBezTo>
                  <a:cubicBezTo>
                    <a:pt x="11290" y="6400"/>
                    <a:pt x="11337" y="6344"/>
                    <a:pt x="11388" y="6290"/>
                  </a:cubicBezTo>
                  <a:cubicBezTo>
                    <a:pt x="11410" y="6267"/>
                    <a:pt x="11421" y="6270"/>
                    <a:pt x="11432" y="6300"/>
                  </a:cubicBezTo>
                  <a:cubicBezTo>
                    <a:pt x="11471" y="6404"/>
                    <a:pt x="11479" y="6506"/>
                    <a:pt x="11404" y="6600"/>
                  </a:cubicBezTo>
                  <a:cubicBezTo>
                    <a:pt x="11396" y="6610"/>
                    <a:pt x="11390" y="6621"/>
                    <a:pt x="11383" y="6631"/>
                  </a:cubicBezTo>
                  <a:cubicBezTo>
                    <a:pt x="11375" y="6643"/>
                    <a:pt x="11376" y="6655"/>
                    <a:pt x="11385" y="6666"/>
                  </a:cubicBezTo>
                  <a:cubicBezTo>
                    <a:pt x="11425" y="6714"/>
                    <a:pt x="11474" y="6749"/>
                    <a:pt x="11526" y="6784"/>
                  </a:cubicBezTo>
                  <a:close/>
                  <a:moveTo>
                    <a:pt x="12532" y="5858"/>
                  </a:moveTo>
                  <a:cubicBezTo>
                    <a:pt x="12524" y="5815"/>
                    <a:pt x="12518" y="5779"/>
                    <a:pt x="12510" y="5743"/>
                  </a:cubicBezTo>
                  <a:cubicBezTo>
                    <a:pt x="12503" y="5716"/>
                    <a:pt x="12500" y="5690"/>
                    <a:pt x="12508" y="5663"/>
                  </a:cubicBezTo>
                  <a:cubicBezTo>
                    <a:pt x="12517" y="5634"/>
                    <a:pt x="12532" y="5625"/>
                    <a:pt x="12559" y="5641"/>
                  </a:cubicBezTo>
                  <a:cubicBezTo>
                    <a:pt x="12597" y="5662"/>
                    <a:pt x="12633" y="5688"/>
                    <a:pt x="12656" y="5727"/>
                  </a:cubicBezTo>
                  <a:cubicBezTo>
                    <a:pt x="12694" y="5788"/>
                    <a:pt x="12691" y="5847"/>
                    <a:pt x="12648" y="5905"/>
                  </a:cubicBezTo>
                  <a:cubicBezTo>
                    <a:pt x="12616" y="5947"/>
                    <a:pt x="12616" y="5950"/>
                    <a:pt x="12643" y="5993"/>
                  </a:cubicBezTo>
                  <a:cubicBezTo>
                    <a:pt x="12649" y="6002"/>
                    <a:pt x="12654" y="6011"/>
                    <a:pt x="12659" y="6020"/>
                  </a:cubicBezTo>
                  <a:cubicBezTo>
                    <a:pt x="12699" y="6088"/>
                    <a:pt x="12698" y="6087"/>
                    <a:pt x="12749" y="6024"/>
                  </a:cubicBezTo>
                  <a:cubicBezTo>
                    <a:pt x="12829" y="5925"/>
                    <a:pt x="12855" y="5814"/>
                    <a:pt x="12832" y="5690"/>
                  </a:cubicBezTo>
                  <a:cubicBezTo>
                    <a:pt x="12818" y="5611"/>
                    <a:pt x="12757" y="5555"/>
                    <a:pt x="12674" y="5550"/>
                  </a:cubicBezTo>
                  <a:cubicBezTo>
                    <a:pt x="12619" y="5546"/>
                    <a:pt x="12574" y="5521"/>
                    <a:pt x="12533" y="5489"/>
                  </a:cubicBezTo>
                  <a:cubicBezTo>
                    <a:pt x="12504" y="5466"/>
                    <a:pt x="12504" y="5440"/>
                    <a:pt x="12535" y="5417"/>
                  </a:cubicBezTo>
                  <a:cubicBezTo>
                    <a:pt x="12559" y="5398"/>
                    <a:pt x="12587" y="5383"/>
                    <a:pt x="12614" y="5368"/>
                  </a:cubicBezTo>
                  <a:cubicBezTo>
                    <a:pt x="12672" y="5336"/>
                    <a:pt x="12708" y="5344"/>
                    <a:pt x="12750" y="5396"/>
                  </a:cubicBezTo>
                  <a:cubicBezTo>
                    <a:pt x="12763" y="5412"/>
                    <a:pt x="12771" y="5432"/>
                    <a:pt x="12783" y="5448"/>
                  </a:cubicBezTo>
                  <a:cubicBezTo>
                    <a:pt x="12798" y="5466"/>
                    <a:pt x="12820" y="5461"/>
                    <a:pt x="12826" y="5439"/>
                  </a:cubicBezTo>
                  <a:cubicBezTo>
                    <a:pt x="12833" y="5408"/>
                    <a:pt x="12830" y="5377"/>
                    <a:pt x="12831" y="5345"/>
                  </a:cubicBezTo>
                  <a:cubicBezTo>
                    <a:pt x="12833" y="5292"/>
                    <a:pt x="12819" y="5248"/>
                    <a:pt x="12774" y="5215"/>
                  </a:cubicBezTo>
                  <a:cubicBezTo>
                    <a:pt x="12712" y="5171"/>
                    <a:pt x="12713" y="5099"/>
                    <a:pt x="12704" y="5035"/>
                  </a:cubicBezTo>
                  <a:cubicBezTo>
                    <a:pt x="12699" y="4997"/>
                    <a:pt x="12723" y="4987"/>
                    <a:pt x="12761" y="5003"/>
                  </a:cubicBezTo>
                  <a:cubicBezTo>
                    <a:pt x="12810" y="5024"/>
                    <a:pt x="12849" y="5057"/>
                    <a:pt x="12870" y="5108"/>
                  </a:cubicBezTo>
                  <a:cubicBezTo>
                    <a:pt x="12920" y="5074"/>
                    <a:pt x="12924" y="5069"/>
                    <a:pt x="12911" y="5021"/>
                  </a:cubicBezTo>
                  <a:cubicBezTo>
                    <a:pt x="12890" y="4949"/>
                    <a:pt x="12895" y="4883"/>
                    <a:pt x="12943" y="4822"/>
                  </a:cubicBezTo>
                  <a:cubicBezTo>
                    <a:pt x="12970" y="4787"/>
                    <a:pt x="12993" y="4750"/>
                    <a:pt x="13017" y="4714"/>
                  </a:cubicBezTo>
                  <a:cubicBezTo>
                    <a:pt x="13025" y="4702"/>
                    <a:pt x="13033" y="4687"/>
                    <a:pt x="13050" y="4689"/>
                  </a:cubicBezTo>
                  <a:cubicBezTo>
                    <a:pt x="13067" y="4691"/>
                    <a:pt x="13072" y="4706"/>
                    <a:pt x="13077" y="4720"/>
                  </a:cubicBezTo>
                  <a:cubicBezTo>
                    <a:pt x="13099" y="4790"/>
                    <a:pt x="13111" y="4862"/>
                    <a:pt x="13116" y="4934"/>
                  </a:cubicBezTo>
                  <a:cubicBezTo>
                    <a:pt x="13119" y="4980"/>
                    <a:pt x="13107" y="5020"/>
                    <a:pt x="13059" y="5042"/>
                  </a:cubicBezTo>
                  <a:cubicBezTo>
                    <a:pt x="13033" y="5055"/>
                    <a:pt x="13007" y="5073"/>
                    <a:pt x="13004" y="5111"/>
                  </a:cubicBezTo>
                  <a:cubicBezTo>
                    <a:pt x="13047" y="5100"/>
                    <a:pt x="13082" y="5081"/>
                    <a:pt x="13116" y="5062"/>
                  </a:cubicBezTo>
                  <a:cubicBezTo>
                    <a:pt x="13137" y="5051"/>
                    <a:pt x="13157" y="5041"/>
                    <a:pt x="13181" y="5040"/>
                  </a:cubicBezTo>
                  <a:cubicBezTo>
                    <a:pt x="13225" y="5038"/>
                    <a:pt x="13239" y="5059"/>
                    <a:pt x="13219" y="5097"/>
                  </a:cubicBezTo>
                  <a:cubicBezTo>
                    <a:pt x="13199" y="5134"/>
                    <a:pt x="13178" y="5170"/>
                    <a:pt x="13156" y="5205"/>
                  </a:cubicBezTo>
                  <a:cubicBezTo>
                    <a:pt x="13130" y="5249"/>
                    <a:pt x="13094" y="5276"/>
                    <a:pt x="13039" y="5273"/>
                  </a:cubicBezTo>
                  <a:cubicBezTo>
                    <a:pt x="13012" y="5271"/>
                    <a:pt x="12985" y="5273"/>
                    <a:pt x="12958" y="5273"/>
                  </a:cubicBezTo>
                  <a:cubicBezTo>
                    <a:pt x="12933" y="5272"/>
                    <a:pt x="12920" y="5285"/>
                    <a:pt x="12913" y="5308"/>
                  </a:cubicBezTo>
                  <a:cubicBezTo>
                    <a:pt x="12904" y="5338"/>
                    <a:pt x="12904" y="5369"/>
                    <a:pt x="12901" y="5400"/>
                  </a:cubicBezTo>
                  <a:cubicBezTo>
                    <a:pt x="12900" y="5413"/>
                    <a:pt x="12896" y="5426"/>
                    <a:pt x="12910" y="5433"/>
                  </a:cubicBezTo>
                  <a:cubicBezTo>
                    <a:pt x="12926" y="5441"/>
                    <a:pt x="12937" y="5432"/>
                    <a:pt x="12948" y="5421"/>
                  </a:cubicBezTo>
                  <a:cubicBezTo>
                    <a:pt x="12967" y="5402"/>
                    <a:pt x="12984" y="5379"/>
                    <a:pt x="13012" y="5373"/>
                  </a:cubicBezTo>
                  <a:cubicBezTo>
                    <a:pt x="13066" y="5362"/>
                    <a:pt x="13120" y="5360"/>
                    <a:pt x="13174" y="5364"/>
                  </a:cubicBezTo>
                  <a:cubicBezTo>
                    <a:pt x="13204" y="5365"/>
                    <a:pt x="13215" y="5388"/>
                    <a:pt x="13198" y="5412"/>
                  </a:cubicBezTo>
                  <a:cubicBezTo>
                    <a:pt x="13163" y="5461"/>
                    <a:pt x="13129" y="5513"/>
                    <a:pt x="13074" y="5542"/>
                  </a:cubicBezTo>
                  <a:cubicBezTo>
                    <a:pt x="13041" y="5559"/>
                    <a:pt x="13012" y="5582"/>
                    <a:pt x="12972" y="5586"/>
                  </a:cubicBezTo>
                  <a:cubicBezTo>
                    <a:pt x="12905" y="5592"/>
                    <a:pt x="12896" y="5603"/>
                    <a:pt x="12909" y="5670"/>
                  </a:cubicBezTo>
                  <a:cubicBezTo>
                    <a:pt x="12936" y="5805"/>
                    <a:pt x="12908" y="5930"/>
                    <a:pt x="12836" y="6046"/>
                  </a:cubicBezTo>
                  <a:cubicBezTo>
                    <a:pt x="12833" y="6051"/>
                    <a:pt x="12830" y="6056"/>
                    <a:pt x="12827" y="6062"/>
                  </a:cubicBezTo>
                  <a:cubicBezTo>
                    <a:pt x="12824" y="6072"/>
                    <a:pt x="12819" y="6082"/>
                    <a:pt x="12829" y="6091"/>
                  </a:cubicBezTo>
                  <a:cubicBezTo>
                    <a:pt x="12839" y="6099"/>
                    <a:pt x="12849" y="6095"/>
                    <a:pt x="12857" y="6088"/>
                  </a:cubicBezTo>
                  <a:cubicBezTo>
                    <a:pt x="12880" y="6066"/>
                    <a:pt x="12903" y="6045"/>
                    <a:pt x="12925" y="6023"/>
                  </a:cubicBezTo>
                  <a:cubicBezTo>
                    <a:pt x="12943" y="6006"/>
                    <a:pt x="12959" y="5986"/>
                    <a:pt x="12982" y="5975"/>
                  </a:cubicBezTo>
                  <a:cubicBezTo>
                    <a:pt x="13026" y="5954"/>
                    <a:pt x="13039" y="5919"/>
                    <a:pt x="13030" y="5872"/>
                  </a:cubicBezTo>
                  <a:cubicBezTo>
                    <a:pt x="13014" y="5796"/>
                    <a:pt x="13035" y="5724"/>
                    <a:pt x="13057" y="5652"/>
                  </a:cubicBezTo>
                  <a:cubicBezTo>
                    <a:pt x="13065" y="5624"/>
                    <a:pt x="13079" y="5621"/>
                    <a:pt x="13103" y="5639"/>
                  </a:cubicBezTo>
                  <a:cubicBezTo>
                    <a:pt x="13125" y="5655"/>
                    <a:pt x="13145" y="5673"/>
                    <a:pt x="13166" y="5690"/>
                  </a:cubicBezTo>
                  <a:cubicBezTo>
                    <a:pt x="13209" y="5726"/>
                    <a:pt x="13215" y="5757"/>
                    <a:pt x="13190" y="5805"/>
                  </a:cubicBezTo>
                  <a:cubicBezTo>
                    <a:pt x="13177" y="5829"/>
                    <a:pt x="13161" y="5851"/>
                    <a:pt x="13149" y="5875"/>
                  </a:cubicBezTo>
                  <a:cubicBezTo>
                    <a:pt x="13138" y="5900"/>
                    <a:pt x="13147" y="5917"/>
                    <a:pt x="13175" y="5919"/>
                  </a:cubicBezTo>
                  <a:cubicBezTo>
                    <a:pt x="13203" y="5921"/>
                    <a:pt x="13233" y="5919"/>
                    <a:pt x="13262" y="5917"/>
                  </a:cubicBezTo>
                  <a:cubicBezTo>
                    <a:pt x="13323" y="5912"/>
                    <a:pt x="13329" y="5906"/>
                    <a:pt x="13331" y="5846"/>
                  </a:cubicBezTo>
                  <a:cubicBezTo>
                    <a:pt x="13332" y="5800"/>
                    <a:pt x="13348" y="5766"/>
                    <a:pt x="13390" y="5745"/>
                  </a:cubicBezTo>
                  <a:cubicBezTo>
                    <a:pt x="13398" y="5742"/>
                    <a:pt x="13404" y="5736"/>
                    <a:pt x="13412" y="5732"/>
                  </a:cubicBezTo>
                  <a:cubicBezTo>
                    <a:pt x="13453" y="5710"/>
                    <a:pt x="13473" y="5678"/>
                    <a:pt x="13469" y="5630"/>
                  </a:cubicBezTo>
                  <a:cubicBezTo>
                    <a:pt x="13467" y="5610"/>
                    <a:pt x="13472" y="5589"/>
                    <a:pt x="13473" y="5568"/>
                  </a:cubicBezTo>
                  <a:cubicBezTo>
                    <a:pt x="13481" y="5448"/>
                    <a:pt x="13499" y="5330"/>
                    <a:pt x="13484" y="5208"/>
                  </a:cubicBezTo>
                  <a:cubicBezTo>
                    <a:pt x="13469" y="5092"/>
                    <a:pt x="13447" y="4985"/>
                    <a:pt x="13371" y="4891"/>
                  </a:cubicBezTo>
                  <a:cubicBezTo>
                    <a:pt x="13302" y="4804"/>
                    <a:pt x="13233" y="4720"/>
                    <a:pt x="13132" y="4668"/>
                  </a:cubicBezTo>
                  <a:cubicBezTo>
                    <a:pt x="13097" y="4650"/>
                    <a:pt x="13060" y="4635"/>
                    <a:pt x="13027" y="4614"/>
                  </a:cubicBezTo>
                  <a:cubicBezTo>
                    <a:pt x="12960" y="4570"/>
                    <a:pt x="12886" y="4568"/>
                    <a:pt x="12811" y="4582"/>
                  </a:cubicBezTo>
                  <a:cubicBezTo>
                    <a:pt x="12753" y="4591"/>
                    <a:pt x="12697" y="4608"/>
                    <a:pt x="12639" y="4613"/>
                  </a:cubicBezTo>
                  <a:cubicBezTo>
                    <a:pt x="12575" y="4620"/>
                    <a:pt x="12532" y="4654"/>
                    <a:pt x="12494" y="4701"/>
                  </a:cubicBezTo>
                  <a:cubicBezTo>
                    <a:pt x="12476" y="4723"/>
                    <a:pt x="12476" y="4741"/>
                    <a:pt x="12497" y="4760"/>
                  </a:cubicBezTo>
                  <a:cubicBezTo>
                    <a:pt x="12506" y="4768"/>
                    <a:pt x="12515" y="4777"/>
                    <a:pt x="12525" y="4785"/>
                  </a:cubicBezTo>
                  <a:cubicBezTo>
                    <a:pt x="12570" y="4819"/>
                    <a:pt x="12575" y="4862"/>
                    <a:pt x="12557" y="4913"/>
                  </a:cubicBezTo>
                  <a:cubicBezTo>
                    <a:pt x="12538" y="4964"/>
                    <a:pt x="12521" y="5015"/>
                    <a:pt x="12512" y="5069"/>
                  </a:cubicBezTo>
                  <a:cubicBezTo>
                    <a:pt x="12510" y="5084"/>
                    <a:pt x="12512" y="5105"/>
                    <a:pt x="12491" y="5110"/>
                  </a:cubicBezTo>
                  <a:cubicBezTo>
                    <a:pt x="12468" y="5116"/>
                    <a:pt x="12457" y="5097"/>
                    <a:pt x="12448" y="5082"/>
                  </a:cubicBezTo>
                  <a:cubicBezTo>
                    <a:pt x="12414" y="5027"/>
                    <a:pt x="12378" y="4973"/>
                    <a:pt x="12372" y="4907"/>
                  </a:cubicBezTo>
                  <a:cubicBezTo>
                    <a:pt x="12371" y="4894"/>
                    <a:pt x="12371" y="4880"/>
                    <a:pt x="12355" y="4877"/>
                  </a:cubicBezTo>
                  <a:cubicBezTo>
                    <a:pt x="12344" y="4875"/>
                    <a:pt x="12334" y="4882"/>
                    <a:pt x="12329" y="4890"/>
                  </a:cubicBezTo>
                  <a:cubicBezTo>
                    <a:pt x="12295" y="4940"/>
                    <a:pt x="12247" y="4979"/>
                    <a:pt x="12223" y="5036"/>
                  </a:cubicBezTo>
                  <a:cubicBezTo>
                    <a:pt x="12204" y="5084"/>
                    <a:pt x="12203" y="5083"/>
                    <a:pt x="12250" y="5100"/>
                  </a:cubicBezTo>
                  <a:cubicBezTo>
                    <a:pt x="12292" y="5115"/>
                    <a:pt x="12337" y="5165"/>
                    <a:pt x="12336" y="5205"/>
                  </a:cubicBezTo>
                  <a:cubicBezTo>
                    <a:pt x="12334" y="5276"/>
                    <a:pt x="12322" y="5345"/>
                    <a:pt x="12308" y="5414"/>
                  </a:cubicBezTo>
                  <a:cubicBezTo>
                    <a:pt x="12302" y="5442"/>
                    <a:pt x="12276" y="5447"/>
                    <a:pt x="12255" y="5427"/>
                  </a:cubicBezTo>
                  <a:cubicBezTo>
                    <a:pt x="12249" y="5422"/>
                    <a:pt x="12244" y="5415"/>
                    <a:pt x="12241" y="5407"/>
                  </a:cubicBezTo>
                  <a:cubicBezTo>
                    <a:pt x="12211" y="5345"/>
                    <a:pt x="12164" y="5293"/>
                    <a:pt x="12131" y="5233"/>
                  </a:cubicBezTo>
                  <a:cubicBezTo>
                    <a:pt x="12111" y="5197"/>
                    <a:pt x="12097" y="5196"/>
                    <a:pt x="12070" y="5227"/>
                  </a:cubicBezTo>
                  <a:cubicBezTo>
                    <a:pt x="12029" y="5275"/>
                    <a:pt x="12000" y="5330"/>
                    <a:pt x="11980" y="5390"/>
                  </a:cubicBezTo>
                  <a:cubicBezTo>
                    <a:pt x="11960" y="5452"/>
                    <a:pt x="11927" y="5495"/>
                    <a:pt x="11860" y="5512"/>
                  </a:cubicBezTo>
                  <a:cubicBezTo>
                    <a:pt x="11809" y="5525"/>
                    <a:pt x="11804" y="5542"/>
                    <a:pt x="11832" y="5586"/>
                  </a:cubicBezTo>
                  <a:cubicBezTo>
                    <a:pt x="11840" y="5600"/>
                    <a:pt x="11852" y="5612"/>
                    <a:pt x="11864" y="5624"/>
                  </a:cubicBezTo>
                  <a:cubicBezTo>
                    <a:pt x="11916" y="5675"/>
                    <a:pt x="11964" y="5730"/>
                    <a:pt x="12022" y="5775"/>
                  </a:cubicBezTo>
                  <a:cubicBezTo>
                    <a:pt x="12055" y="5801"/>
                    <a:pt x="12081" y="5833"/>
                    <a:pt x="12108" y="5865"/>
                  </a:cubicBezTo>
                  <a:cubicBezTo>
                    <a:pt x="12193" y="5969"/>
                    <a:pt x="12245" y="6093"/>
                    <a:pt x="12311" y="6208"/>
                  </a:cubicBezTo>
                  <a:cubicBezTo>
                    <a:pt x="12350" y="6276"/>
                    <a:pt x="12404" y="6335"/>
                    <a:pt x="12438" y="6407"/>
                  </a:cubicBezTo>
                  <a:cubicBezTo>
                    <a:pt x="12448" y="6428"/>
                    <a:pt x="12469" y="6433"/>
                    <a:pt x="12491" y="6417"/>
                  </a:cubicBezTo>
                  <a:cubicBezTo>
                    <a:pt x="12580" y="6349"/>
                    <a:pt x="12642" y="6268"/>
                    <a:pt x="12632" y="6148"/>
                  </a:cubicBezTo>
                  <a:cubicBezTo>
                    <a:pt x="12625" y="6062"/>
                    <a:pt x="12536" y="6017"/>
                    <a:pt x="12465" y="6064"/>
                  </a:cubicBezTo>
                  <a:cubicBezTo>
                    <a:pt x="12458" y="6069"/>
                    <a:pt x="12452" y="6075"/>
                    <a:pt x="12445" y="6079"/>
                  </a:cubicBezTo>
                  <a:cubicBezTo>
                    <a:pt x="12403" y="6104"/>
                    <a:pt x="12357" y="6106"/>
                    <a:pt x="12312" y="6091"/>
                  </a:cubicBezTo>
                  <a:cubicBezTo>
                    <a:pt x="12279" y="6080"/>
                    <a:pt x="12276" y="6057"/>
                    <a:pt x="12301" y="6032"/>
                  </a:cubicBezTo>
                  <a:cubicBezTo>
                    <a:pt x="12326" y="6008"/>
                    <a:pt x="12353" y="5985"/>
                    <a:pt x="12386" y="5970"/>
                  </a:cubicBezTo>
                  <a:cubicBezTo>
                    <a:pt x="12396" y="5965"/>
                    <a:pt x="12411" y="5963"/>
                    <a:pt x="12409" y="5946"/>
                  </a:cubicBezTo>
                  <a:cubicBezTo>
                    <a:pt x="12402" y="5936"/>
                    <a:pt x="12391" y="5934"/>
                    <a:pt x="12382" y="5936"/>
                  </a:cubicBezTo>
                  <a:cubicBezTo>
                    <a:pt x="12341" y="5942"/>
                    <a:pt x="12310" y="5921"/>
                    <a:pt x="12277" y="5904"/>
                  </a:cubicBezTo>
                  <a:cubicBezTo>
                    <a:pt x="12242" y="5886"/>
                    <a:pt x="12221" y="5855"/>
                    <a:pt x="12195" y="5828"/>
                  </a:cubicBezTo>
                  <a:cubicBezTo>
                    <a:pt x="12162" y="5795"/>
                    <a:pt x="12166" y="5775"/>
                    <a:pt x="12212" y="5765"/>
                  </a:cubicBezTo>
                  <a:cubicBezTo>
                    <a:pt x="12275" y="5751"/>
                    <a:pt x="12339" y="5744"/>
                    <a:pt x="12404" y="5751"/>
                  </a:cubicBezTo>
                  <a:cubicBezTo>
                    <a:pt x="12443" y="5755"/>
                    <a:pt x="12471" y="5771"/>
                    <a:pt x="12483" y="5810"/>
                  </a:cubicBezTo>
                  <a:cubicBezTo>
                    <a:pt x="12489" y="5829"/>
                    <a:pt x="12495" y="5851"/>
                    <a:pt x="12532" y="5858"/>
                  </a:cubicBezTo>
                  <a:close/>
                  <a:moveTo>
                    <a:pt x="9320" y="6314"/>
                  </a:moveTo>
                  <a:cubicBezTo>
                    <a:pt x="9345" y="6302"/>
                    <a:pt x="9359" y="6298"/>
                    <a:pt x="9370" y="6289"/>
                  </a:cubicBezTo>
                  <a:cubicBezTo>
                    <a:pt x="9412" y="6257"/>
                    <a:pt x="9460" y="6260"/>
                    <a:pt x="9508" y="6267"/>
                  </a:cubicBezTo>
                  <a:cubicBezTo>
                    <a:pt x="9547" y="6273"/>
                    <a:pt x="9556" y="6289"/>
                    <a:pt x="9536" y="6321"/>
                  </a:cubicBezTo>
                  <a:cubicBezTo>
                    <a:pt x="9520" y="6348"/>
                    <a:pt x="9499" y="6371"/>
                    <a:pt x="9481" y="6396"/>
                  </a:cubicBezTo>
                  <a:cubicBezTo>
                    <a:pt x="9472" y="6407"/>
                    <a:pt x="9456" y="6417"/>
                    <a:pt x="9465" y="6434"/>
                  </a:cubicBezTo>
                  <a:cubicBezTo>
                    <a:pt x="9473" y="6448"/>
                    <a:pt x="9487" y="6439"/>
                    <a:pt x="9499" y="6438"/>
                  </a:cubicBezTo>
                  <a:cubicBezTo>
                    <a:pt x="9518" y="6438"/>
                    <a:pt x="9532" y="6443"/>
                    <a:pt x="9530" y="6466"/>
                  </a:cubicBezTo>
                  <a:cubicBezTo>
                    <a:pt x="9526" y="6543"/>
                    <a:pt x="9468" y="6614"/>
                    <a:pt x="9391" y="6640"/>
                  </a:cubicBezTo>
                  <a:cubicBezTo>
                    <a:pt x="9359" y="6651"/>
                    <a:pt x="9329" y="6662"/>
                    <a:pt x="9295" y="6663"/>
                  </a:cubicBezTo>
                  <a:cubicBezTo>
                    <a:pt x="9268" y="6664"/>
                    <a:pt x="9259" y="6685"/>
                    <a:pt x="9274" y="6707"/>
                  </a:cubicBezTo>
                  <a:cubicBezTo>
                    <a:pt x="9287" y="6726"/>
                    <a:pt x="9306" y="6739"/>
                    <a:pt x="9324" y="6754"/>
                  </a:cubicBezTo>
                  <a:cubicBezTo>
                    <a:pt x="9427" y="6845"/>
                    <a:pt x="9560" y="6859"/>
                    <a:pt x="9685" y="6894"/>
                  </a:cubicBezTo>
                  <a:cubicBezTo>
                    <a:pt x="9711" y="6901"/>
                    <a:pt x="9737" y="6905"/>
                    <a:pt x="9762" y="6918"/>
                  </a:cubicBezTo>
                  <a:cubicBezTo>
                    <a:pt x="9819" y="6946"/>
                    <a:pt x="9840" y="6936"/>
                    <a:pt x="9866" y="6875"/>
                  </a:cubicBezTo>
                  <a:cubicBezTo>
                    <a:pt x="9889" y="6824"/>
                    <a:pt x="9909" y="6771"/>
                    <a:pt x="9936" y="6722"/>
                  </a:cubicBezTo>
                  <a:cubicBezTo>
                    <a:pt x="9982" y="6641"/>
                    <a:pt x="10014" y="6553"/>
                    <a:pt x="10057" y="6470"/>
                  </a:cubicBezTo>
                  <a:cubicBezTo>
                    <a:pt x="10065" y="6455"/>
                    <a:pt x="10066" y="6439"/>
                    <a:pt x="10061" y="6422"/>
                  </a:cubicBezTo>
                  <a:cubicBezTo>
                    <a:pt x="10052" y="6381"/>
                    <a:pt x="10028" y="6346"/>
                    <a:pt x="10027" y="6303"/>
                  </a:cubicBezTo>
                  <a:cubicBezTo>
                    <a:pt x="10026" y="6288"/>
                    <a:pt x="10012" y="6285"/>
                    <a:pt x="9998" y="6292"/>
                  </a:cubicBezTo>
                  <a:cubicBezTo>
                    <a:pt x="9984" y="6299"/>
                    <a:pt x="9978" y="6311"/>
                    <a:pt x="9972" y="6325"/>
                  </a:cubicBezTo>
                  <a:cubicBezTo>
                    <a:pt x="9944" y="6387"/>
                    <a:pt x="9899" y="6431"/>
                    <a:pt x="9837" y="6457"/>
                  </a:cubicBezTo>
                  <a:cubicBezTo>
                    <a:pt x="9823" y="6462"/>
                    <a:pt x="9810" y="6468"/>
                    <a:pt x="9797" y="6475"/>
                  </a:cubicBezTo>
                  <a:cubicBezTo>
                    <a:pt x="9755" y="6497"/>
                    <a:pt x="9745" y="6493"/>
                    <a:pt x="9732" y="6449"/>
                  </a:cubicBezTo>
                  <a:cubicBezTo>
                    <a:pt x="9726" y="6426"/>
                    <a:pt x="9724" y="6403"/>
                    <a:pt x="9730" y="6381"/>
                  </a:cubicBezTo>
                  <a:cubicBezTo>
                    <a:pt x="9753" y="6296"/>
                    <a:pt x="9791" y="6225"/>
                    <a:pt x="9889" y="6210"/>
                  </a:cubicBezTo>
                  <a:cubicBezTo>
                    <a:pt x="9906" y="6208"/>
                    <a:pt x="9922" y="6206"/>
                    <a:pt x="9939" y="6203"/>
                  </a:cubicBezTo>
                  <a:cubicBezTo>
                    <a:pt x="9962" y="6199"/>
                    <a:pt x="9973" y="6182"/>
                    <a:pt x="9967" y="6162"/>
                  </a:cubicBezTo>
                  <a:cubicBezTo>
                    <a:pt x="9947" y="6103"/>
                    <a:pt x="9957" y="6047"/>
                    <a:pt x="9979" y="5992"/>
                  </a:cubicBezTo>
                  <a:cubicBezTo>
                    <a:pt x="9984" y="5980"/>
                    <a:pt x="9984" y="5967"/>
                    <a:pt x="9972" y="5958"/>
                  </a:cubicBezTo>
                  <a:cubicBezTo>
                    <a:pt x="9960" y="5949"/>
                    <a:pt x="9947" y="5953"/>
                    <a:pt x="9937" y="5961"/>
                  </a:cubicBezTo>
                  <a:cubicBezTo>
                    <a:pt x="9916" y="5978"/>
                    <a:pt x="9891" y="5974"/>
                    <a:pt x="9866" y="5977"/>
                  </a:cubicBezTo>
                  <a:cubicBezTo>
                    <a:pt x="9794" y="5984"/>
                    <a:pt x="9722" y="5960"/>
                    <a:pt x="9650" y="5983"/>
                  </a:cubicBezTo>
                  <a:cubicBezTo>
                    <a:pt x="9625" y="5991"/>
                    <a:pt x="9608" y="5969"/>
                    <a:pt x="9620" y="5946"/>
                  </a:cubicBezTo>
                  <a:cubicBezTo>
                    <a:pt x="9651" y="5885"/>
                    <a:pt x="9679" y="5820"/>
                    <a:pt x="9753" y="5798"/>
                  </a:cubicBezTo>
                  <a:cubicBezTo>
                    <a:pt x="9775" y="5792"/>
                    <a:pt x="9796" y="5783"/>
                    <a:pt x="9818" y="5775"/>
                  </a:cubicBezTo>
                  <a:cubicBezTo>
                    <a:pt x="9892" y="5746"/>
                    <a:pt x="9956" y="5767"/>
                    <a:pt x="10012" y="5818"/>
                  </a:cubicBezTo>
                  <a:cubicBezTo>
                    <a:pt x="10046" y="5849"/>
                    <a:pt x="10046" y="5851"/>
                    <a:pt x="10073" y="5818"/>
                  </a:cubicBezTo>
                  <a:cubicBezTo>
                    <a:pt x="10130" y="5748"/>
                    <a:pt x="10194" y="5686"/>
                    <a:pt x="10269" y="5636"/>
                  </a:cubicBezTo>
                  <a:cubicBezTo>
                    <a:pt x="10294" y="5618"/>
                    <a:pt x="10317" y="5596"/>
                    <a:pt x="10340" y="5575"/>
                  </a:cubicBezTo>
                  <a:cubicBezTo>
                    <a:pt x="10350" y="5565"/>
                    <a:pt x="10360" y="5552"/>
                    <a:pt x="10352" y="5536"/>
                  </a:cubicBezTo>
                  <a:cubicBezTo>
                    <a:pt x="10345" y="5524"/>
                    <a:pt x="10332" y="5519"/>
                    <a:pt x="10320" y="5520"/>
                  </a:cubicBezTo>
                  <a:cubicBezTo>
                    <a:pt x="10283" y="5524"/>
                    <a:pt x="10248" y="5514"/>
                    <a:pt x="10217" y="5498"/>
                  </a:cubicBezTo>
                  <a:cubicBezTo>
                    <a:pt x="10111" y="5442"/>
                    <a:pt x="9994" y="5437"/>
                    <a:pt x="9879" y="5423"/>
                  </a:cubicBezTo>
                  <a:cubicBezTo>
                    <a:pt x="9803" y="5414"/>
                    <a:pt x="9728" y="5398"/>
                    <a:pt x="9653" y="5386"/>
                  </a:cubicBezTo>
                  <a:cubicBezTo>
                    <a:pt x="9585" y="5375"/>
                    <a:pt x="9518" y="5361"/>
                    <a:pt x="9450" y="5354"/>
                  </a:cubicBezTo>
                  <a:cubicBezTo>
                    <a:pt x="9339" y="5344"/>
                    <a:pt x="9232" y="5380"/>
                    <a:pt x="9122" y="5392"/>
                  </a:cubicBezTo>
                  <a:cubicBezTo>
                    <a:pt x="9114" y="5393"/>
                    <a:pt x="9106" y="5396"/>
                    <a:pt x="9099" y="5401"/>
                  </a:cubicBezTo>
                  <a:cubicBezTo>
                    <a:pt x="9036" y="5440"/>
                    <a:pt x="8971" y="5477"/>
                    <a:pt x="8922" y="5536"/>
                  </a:cubicBezTo>
                  <a:cubicBezTo>
                    <a:pt x="8888" y="5576"/>
                    <a:pt x="8887" y="5585"/>
                    <a:pt x="8936" y="5608"/>
                  </a:cubicBezTo>
                  <a:cubicBezTo>
                    <a:pt x="8997" y="5637"/>
                    <a:pt x="9041" y="5675"/>
                    <a:pt x="9034" y="5750"/>
                  </a:cubicBezTo>
                  <a:cubicBezTo>
                    <a:pt x="9034" y="5760"/>
                    <a:pt x="9038" y="5770"/>
                    <a:pt x="9039" y="5780"/>
                  </a:cubicBezTo>
                  <a:cubicBezTo>
                    <a:pt x="9047" y="5833"/>
                    <a:pt x="9028" y="5879"/>
                    <a:pt x="9007" y="5924"/>
                  </a:cubicBezTo>
                  <a:cubicBezTo>
                    <a:pt x="8996" y="5948"/>
                    <a:pt x="8976" y="5949"/>
                    <a:pt x="8966" y="5926"/>
                  </a:cubicBezTo>
                  <a:cubicBezTo>
                    <a:pt x="8941" y="5871"/>
                    <a:pt x="8901" y="5830"/>
                    <a:pt x="8854" y="5795"/>
                  </a:cubicBezTo>
                  <a:cubicBezTo>
                    <a:pt x="8840" y="5785"/>
                    <a:pt x="8832" y="5770"/>
                    <a:pt x="8826" y="5754"/>
                  </a:cubicBezTo>
                  <a:cubicBezTo>
                    <a:pt x="8820" y="5738"/>
                    <a:pt x="8814" y="5720"/>
                    <a:pt x="8794" y="5719"/>
                  </a:cubicBezTo>
                  <a:cubicBezTo>
                    <a:pt x="8769" y="5718"/>
                    <a:pt x="8768" y="5743"/>
                    <a:pt x="8760" y="5758"/>
                  </a:cubicBezTo>
                  <a:cubicBezTo>
                    <a:pt x="8753" y="5770"/>
                    <a:pt x="8748" y="5785"/>
                    <a:pt x="8745" y="5799"/>
                  </a:cubicBezTo>
                  <a:cubicBezTo>
                    <a:pt x="8736" y="5848"/>
                    <a:pt x="8750" y="5877"/>
                    <a:pt x="8798" y="5889"/>
                  </a:cubicBezTo>
                  <a:cubicBezTo>
                    <a:pt x="8859" y="5904"/>
                    <a:pt x="8898" y="5944"/>
                    <a:pt x="8935" y="5990"/>
                  </a:cubicBezTo>
                  <a:cubicBezTo>
                    <a:pt x="8965" y="6028"/>
                    <a:pt x="8979" y="6076"/>
                    <a:pt x="9016" y="6113"/>
                  </a:cubicBezTo>
                  <a:cubicBezTo>
                    <a:pt x="9016" y="6085"/>
                    <a:pt x="9016" y="6063"/>
                    <a:pt x="9017" y="6040"/>
                  </a:cubicBezTo>
                  <a:cubicBezTo>
                    <a:pt x="9017" y="6011"/>
                    <a:pt x="9030" y="6004"/>
                    <a:pt x="9057" y="6018"/>
                  </a:cubicBezTo>
                  <a:cubicBezTo>
                    <a:pt x="9097" y="6039"/>
                    <a:pt x="9134" y="6066"/>
                    <a:pt x="9169" y="6096"/>
                  </a:cubicBezTo>
                  <a:cubicBezTo>
                    <a:pt x="9208" y="6130"/>
                    <a:pt x="9223" y="6173"/>
                    <a:pt x="9217" y="6224"/>
                  </a:cubicBezTo>
                  <a:cubicBezTo>
                    <a:pt x="9215" y="6242"/>
                    <a:pt x="9204" y="6260"/>
                    <a:pt x="9214" y="6278"/>
                  </a:cubicBezTo>
                  <a:cubicBezTo>
                    <a:pt x="9263" y="6265"/>
                    <a:pt x="9282" y="6244"/>
                    <a:pt x="9282" y="6198"/>
                  </a:cubicBezTo>
                  <a:cubicBezTo>
                    <a:pt x="9282" y="6176"/>
                    <a:pt x="9275" y="6153"/>
                    <a:pt x="9272" y="6131"/>
                  </a:cubicBezTo>
                  <a:cubicBezTo>
                    <a:pt x="9262" y="6078"/>
                    <a:pt x="9268" y="6029"/>
                    <a:pt x="9302" y="5983"/>
                  </a:cubicBezTo>
                  <a:cubicBezTo>
                    <a:pt x="9329" y="5946"/>
                    <a:pt x="9361" y="5914"/>
                    <a:pt x="9395" y="5883"/>
                  </a:cubicBezTo>
                  <a:cubicBezTo>
                    <a:pt x="9432" y="5847"/>
                    <a:pt x="9448" y="5851"/>
                    <a:pt x="9461" y="5899"/>
                  </a:cubicBezTo>
                  <a:cubicBezTo>
                    <a:pt x="9475" y="5950"/>
                    <a:pt x="9470" y="6003"/>
                    <a:pt x="9476" y="6054"/>
                  </a:cubicBezTo>
                  <a:cubicBezTo>
                    <a:pt x="9483" y="6125"/>
                    <a:pt x="9454" y="6179"/>
                    <a:pt x="9395" y="6219"/>
                  </a:cubicBezTo>
                  <a:cubicBezTo>
                    <a:pt x="9364" y="6239"/>
                    <a:pt x="9335" y="6262"/>
                    <a:pt x="9320" y="6314"/>
                  </a:cubicBezTo>
                  <a:close/>
                  <a:moveTo>
                    <a:pt x="12390" y="7307"/>
                  </a:moveTo>
                  <a:cubicBezTo>
                    <a:pt x="12361" y="7294"/>
                    <a:pt x="12337" y="7308"/>
                    <a:pt x="12316" y="7325"/>
                  </a:cubicBezTo>
                  <a:cubicBezTo>
                    <a:pt x="12306" y="7332"/>
                    <a:pt x="12304" y="7343"/>
                    <a:pt x="12314" y="7351"/>
                  </a:cubicBezTo>
                  <a:cubicBezTo>
                    <a:pt x="12322" y="7358"/>
                    <a:pt x="12330" y="7367"/>
                    <a:pt x="12339" y="7369"/>
                  </a:cubicBezTo>
                  <a:cubicBezTo>
                    <a:pt x="12418" y="7389"/>
                    <a:pt x="12440" y="7464"/>
                    <a:pt x="12482" y="7518"/>
                  </a:cubicBezTo>
                  <a:cubicBezTo>
                    <a:pt x="12495" y="7535"/>
                    <a:pt x="12484" y="7552"/>
                    <a:pt x="12462" y="7550"/>
                  </a:cubicBezTo>
                  <a:cubicBezTo>
                    <a:pt x="12399" y="7544"/>
                    <a:pt x="12333" y="7550"/>
                    <a:pt x="12279" y="7502"/>
                  </a:cubicBezTo>
                  <a:cubicBezTo>
                    <a:pt x="12258" y="7483"/>
                    <a:pt x="12235" y="7465"/>
                    <a:pt x="12215" y="7444"/>
                  </a:cubicBezTo>
                  <a:cubicBezTo>
                    <a:pt x="12198" y="7427"/>
                    <a:pt x="12178" y="7403"/>
                    <a:pt x="12151" y="7417"/>
                  </a:cubicBezTo>
                  <a:cubicBezTo>
                    <a:pt x="12127" y="7428"/>
                    <a:pt x="12101" y="7437"/>
                    <a:pt x="12081" y="7456"/>
                  </a:cubicBezTo>
                  <a:cubicBezTo>
                    <a:pt x="12049" y="7486"/>
                    <a:pt x="12052" y="7509"/>
                    <a:pt x="12091" y="7526"/>
                  </a:cubicBezTo>
                  <a:cubicBezTo>
                    <a:pt x="12112" y="7536"/>
                    <a:pt x="12135" y="7541"/>
                    <a:pt x="12155" y="7552"/>
                  </a:cubicBezTo>
                  <a:cubicBezTo>
                    <a:pt x="12211" y="7583"/>
                    <a:pt x="12226" y="7640"/>
                    <a:pt x="12194" y="7695"/>
                  </a:cubicBezTo>
                  <a:cubicBezTo>
                    <a:pt x="12167" y="7742"/>
                    <a:pt x="12134" y="7785"/>
                    <a:pt x="12112" y="7835"/>
                  </a:cubicBezTo>
                  <a:cubicBezTo>
                    <a:pt x="12101" y="7861"/>
                    <a:pt x="12083" y="7861"/>
                    <a:pt x="12064" y="7839"/>
                  </a:cubicBezTo>
                  <a:cubicBezTo>
                    <a:pt x="12036" y="7807"/>
                    <a:pt x="12017" y="7769"/>
                    <a:pt x="12021" y="7725"/>
                  </a:cubicBezTo>
                  <a:cubicBezTo>
                    <a:pt x="12028" y="7658"/>
                    <a:pt x="11996" y="7610"/>
                    <a:pt x="11947" y="7570"/>
                  </a:cubicBezTo>
                  <a:cubicBezTo>
                    <a:pt x="11913" y="7541"/>
                    <a:pt x="11889" y="7539"/>
                    <a:pt x="11851" y="7563"/>
                  </a:cubicBezTo>
                  <a:cubicBezTo>
                    <a:pt x="11826" y="7578"/>
                    <a:pt x="11810" y="7605"/>
                    <a:pt x="11787" y="7622"/>
                  </a:cubicBezTo>
                  <a:cubicBezTo>
                    <a:pt x="11741" y="7656"/>
                    <a:pt x="11736" y="7699"/>
                    <a:pt x="11750" y="7749"/>
                  </a:cubicBezTo>
                  <a:cubicBezTo>
                    <a:pt x="11762" y="7794"/>
                    <a:pt x="11763" y="7839"/>
                    <a:pt x="11750" y="7885"/>
                  </a:cubicBezTo>
                  <a:cubicBezTo>
                    <a:pt x="11739" y="7921"/>
                    <a:pt x="11743" y="7958"/>
                    <a:pt x="11758" y="7994"/>
                  </a:cubicBezTo>
                  <a:cubicBezTo>
                    <a:pt x="11804" y="8103"/>
                    <a:pt x="11888" y="8180"/>
                    <a:pt x="11976" y="8253"/>
                  </a:cubicBezTo>
                  <a:cubicBezTo>
                    <a:pt x="11997" y="8270"/>
                    <a:pt x="12018" y="8285"/>
                    <a:pt x="12037" y="8305"/>
                  </a:cubicBezTo>
                  <a:cubicBezTo>
                    <a:pt x="12087" y="8358"/>
                    <a:pt x="12130" y="8418"/>
                    <a:pt x="12187" y="8464"/>
                  </a:cubicBezTo>
                  <a:cubicBezTo>
                    <a:pt x="12260" y="8524"/>
                    <a:pt x="12319" y="8595"/>
                    <a:pt x="12376" y="8670"/>
                  </a:cubicBezTo>
                  <a:cubicBezTo>
                    <a:pt x="12420" y="8727"/>
                    <a:pt x="12456" y="8792"/>
                    <a:pt x="12522" y="8831"/>
                  </a:cubicBezTo>
                  <a:cubicBezTo>
                    <a:pt x="12579" y="8865"/>
                    <a:pt x="12629" y="8859"/>
                    <a:pt x="12670" y="8808"/>
                  </a:cubicBezTo>
                  <a:cubicBezTo>
                    <a:pt x="12740" y="8720"/>
                    <a:pt x="12779" y="8617"/>
                    <a:pt x="12808" y="8511"/>
                  </a:cubicBezTo>
                  <a:cubicBezTo>
                    <a:pt x="12841" y="8393"/>
                    <a:pt x="12861" y="8272"/>
                    <a:pt x="12908" y="8158"/>
                  </a:cubicBezTo>
                  <a:cubicBezTo>
                    <a:pt x="12934" y="8095"/>
                    <a:pt x="12943" y="8026"/>
                    <a:pt x="12909" y="7964"/>
                  </a:cubicBezTo>
                  <a:cubicBezTo>
                    <a:pt x="12860" y="7874"/>
                    <a:pt x="12832" y="7775"/>
                    <a:pt x="12781" y="7687"/>
                  </a:cubicBezTo>
                  <a:cubicBezTo>
                    <a:pt x="12762" y="7655"/>
                    <a:pt x="12747" y="7621"/>
                    <a:pt x="12732" y="7587"/>
                  </a:cubicBezTo>
                  <a:cubicBezTo>
                    <a:pt x="12688" y="7486"/>
                    <a:pt x="12639" y="7388"/>
                    <a:pt x="12580" y="7294"/>
                  </a:cubicBezTo>
                  <a:cubicBezTo>
                    <a:pt x="12542" y="7234"/>
                    <a:pt x="12543" y="7233"/>
                    <a:pt x="12483" y="7278"/>
                  </a:cubicBezTo>
                  <a:cubicBezTo>
                    <a:pt x="12455" y="7299"/>
                    <a:pt x="12425" y="7309"/>
                    <a:pt x="12390" y="7307"/>
                  </a:cubicBezTo>
                  <a:close/>
                  <a:moveTo>
                    <a:pt x="13698" y="7832"/>
                  </a:moveTo>
                  <a:cubicBezTo>
                    <a:pt x="13693" y="7840"/>
                    <a:pt x="13696" y="7851"/>
                    <a:pt x="13703" y="7858"/>
                  </a:cubicBezTo>
                  <a:cubicBezTo>
                    <a:pt x="13733" y="7888"/>
                    <a:pt x="13758" y="7920"/>
                    <a:pt x="13770" y="7962"/>
                  </a:cubicBezTo>
                  <a:cubicBezTo>
                    <a:pt x="13777" y="7983"/>
                    <a:pt x="13797" y="7988"/>
                    <a:pt x="13816" y="7984"/>
                  </a:cubicBezTo>
                  <a:cubicBezTo>
                    <a:pt x="13846" y="7979"/>
                    <a:pt x="13868" y="7991"/>
                    <a:pt x="13891" y="8007"/>
                  </a:cubicBezTo>
                  <a:cubicBezTo>
                    <a:pt x="13916" y="8026"/>
                    <a:pt x="13944" y="8041"/>
                    <a:pt x="13969" y="8058"/>
                  </a:cubicBezTo>
                  <a:cubicBezTo>
                    <a:pt x="13986" y="8070"/>
                    <a:pt x="14003" y="8083"/>
                    <a:pt x="14019" y="8096"/>
                  </a:cubicBezTo>
                  <a:cubicBezTo>
                    <a:pt x="14029" y="8105"/>
                    <a:pt x="14032" y="8117"/>
                    <a:pt x="14028" y="8130"/>
                  </a:cubicBezTo>
                  <a:cubicBezTo>
                    <a:pt x="14024" y="8144"/>
                    <a:pt x="14013" y="8149"/>
                    <a:pt x="13999" y="8149"/>
                  </a:cubicBezTo>
                  <a:cubicBezTo>
                    <a:pt x="13950" y="8148"/>
                    <a:pt x="13899" y="8157"/>
                    <a:pt x="13855" y="8123"/>
                  </a:cubicBezTo>
                  <a:cubicBezTo>
                    <a:pt x="13845" y="8115"/>
                    <a:pt x="13831" y="8111"/>
                    <a:pt x="13821" y="8123"/>
                  </a:cubicBezTo>
                  <a:cubicBezTo>
                    <a:pt x="13809" y="8136"/>
                    <a:pt x="13815" y="8151"/>
                    <a:pt x="13824" y="8162"/>
                  </a:cubicBezTo>
                  <a:cubicBezTo>
                    <a:pt x="13841" y="8181"/>
                    <a:pt x="13858" y="8199"/>
                    <a:pt x="13878" y="8213"/>
                  </a:cubicBezTo>
                  <a:cubicBezTo>
                    <a:pt x="13915" y="8240"/>
                    <a:pt x="13922" y="8274"/>
                    <a:pt x="13918" y="8317"/>
                  </a:cubicBezTo>
                  <a:cubicBezTo>
                    <a:pt x="13912" y="8375"/>
                    <a:pt x="13867" y="8412"/>
                    <a:pt x="13852" y="8465"/>
                  </a:cubicBezTo>
                  <a:cubicBezTo>
                    <a:pt x="13849" y="8475"/>
                    <a:pt x="13836" y="8476"/>
                    <a:pt x="13825" y="8470"/>
                  </a:cubicBezTo>
                  <a:cubicBezTo>
                    <a:pt x="13788" y="8451"/>
                    <a:pt x="13757" y="8381"/>
                    <a:pt x="13763" y="8339"/>
                  </a:cubicBezTo>
                  <a:cubicBezTo>
                    <a:pt x="13769" y="8306"/>
                    <a:pt x="13771" y="8273"/>
                    <a:pt x="13773" y="8239"/>
                  </a:cubicBezTo>
                  <a:cubicBezTo>
                    <a:pt x="13774" y="8216"/>
                    <a:pt x="13768" y="8194"/>
                    <a:pt x="13752" y="8176"/>
                  </a:cubicBezTo>
                  <a:cubicBezTo>
                    <a:pt x="13747" y="8169"/>
                    <a:pt x="13740" y="8163"/>
                    <a:pt x="13732" y="8164"/>
                  </a:cubicBezTo>
                  <a:cubicBezTo>
                    <a:pt x="13718" y="8166"/>
                    <a:pt x="13717" y="8177"/>
                    <a:pt x="13718" y="8188"/>
                  </a:cubicBezTo>
                  <a:cubicBezTo>
                    <a:pt x="13720" y="8215"/>
                    <a:pt x="13722" y="8241"/>
                    <a:pt x="13700" y="8264"/>
                  </a:cubicBezTo>
                  <a:cubicBezTo>
                    <a:pt x="13674" y="8290"/>
                    <a:pt x="13653" y="8291"/>
                    <a:pt x="13637" y="8259"/>
                  </a:cubicBezTo>
                  <a:cubicBezTo>
                    <a:pt x="13617" y="8218"/>
                    <a:pt x="13599" y="8175"/>
                    <a:pt x="13621" y="8128"/>
                  </a:cubicBezTo>
                  <a:cubicBezTo>
                    <a:pt x="13631" y="8107"/>
                    <a:pt x="13637" y="8085"/>
                    <a:pt x="13650" y="8066"/>
                  </a:cubicBezTo>
                  <a:cubicBezTo>
                    <a:pt x="13689" y="8008"/>
                    <a:pt x="13672" y="7930"/>
                    <a:pt x="13625" y="7876"/>
                  </a:cubicBezTo>
                  <a:cubicBezTo>
                    <a:pt x="13616" y="7866"/>
                    <a:pt x="13605" y="7859"/>
                    <a:pt x="13592" y="7865"/>
                  </a:cubicBezTo>
                  <a:cubicBezTo>
                    <a:pt x="13578" y="7871"/>
                    <a:pt x="13579" y="7884"/>
                    <a:pt x="13580" y="7897"/>
                  </a:cubicBezTo>
                  <a:cubicBezTo>
                    <a:pt x="13581" y="7903"/>
                    <a:pt x="13582" y="7910"/>
                    <a:pt x="13584" y="7915"/>
                  </a:cubicBezTo>
                  <a:cubicBezTo>
                    <a:pt x="13599" y="7955"/>
                    <a:pt x="13582" y="7982"/>
                    <a:pt x="13554" y="8009"/>
                  </a:cubicBezTo>
                  <a:cubicBezTo>
                    <a:pt x="13526" y="8036"/>
                    <a:pt x="13489" y="8045"/>
                    <a:pt x="13455" y="8061"/>
                  </a:cubicBezTo>
                  <a:cubicBezTo>
                    <a:pt x="13432" y="8072"/>
                    <a:pt x="13421" y="8054"/>
                    <a:pt x="13419" y="8033"/>
                  </a:cubicBezTo>
                  <a:cubicBezTo>
                    <a:pt x="13408" y="7947"/>
                    <a:pt x="13413" y="7866"/>
                    <a:pt x="13483" y="7803"/>
                  </a:cubicBezTo>
                  <a:cubicBezTo>
                    <a:pt x="13490" y="7798"/>
                    <a:pt x="13495" y="7791"/>
                    <a:pt x="13500" y="7784"/>
                  </a:cubicBezTo>
                  <a:cubicBezTo>
                    <a:pt x="13518" y="7757"/>
                    <a:pt x="13514" y="7715"/>
                    <a:pt x="13492" y="7685"/>
                  </a:cubicBezTo>
                  <a:cubicBezTo>
                    <a:pt x="13465" y="7650"/>
                    <a:pt x="13426" y="7629"/>
                    <a:pt x="13396" y="7642"/>
                  </a:cubicBezTo>
                  <a:cubicBezTo>
                    <a:pt x="13343" y="7665"/>
                    <a:pt x="13295" y="7696"/>
                    <a:pt x="13275" y="7752"/>
                  </a:cubicBezTo>
                  <a:cubicBezTo>
                    <a:pt x="13251" y="7818"/>
                    <a:pt x="13224" y="7883"/>
                    <a:pt x="13214" y="7954"/>
                  </a:cubicBezTo>
                  <a:cubicBezTo>
                    <a:pt x="13211" y="7975"/>
                    <a:pt x="13211" y="7994"/>
                    <a:pt x="13221" y="8014"/>
                  </a:cubicBezTo>
                  <a:cubicBezTo>
                    <a:pt x="13242" y="8057"/>
                    <a:pt x="13264" y="8100"/>
                    <a:pt x="13281" y="8145"/>
                  </a:cubicBezTo>
                  <a:cubicBezTo>
                    <a:pt x="13336" y="8297"/>
                    <a:pt x="13417" y="8438"/>
                    <a:pt x="13483" y="8586"/>
                  </a:cubicBezTo>
                  <a:cubicBezTo>
                    <a:pt x="13526" y="8680"/>
                    <a:pt x="13565" y="8776"/>
                    <a:pt x="13603" y="8872"/>
                  </a:cubicBezTo>
                  <a:cubicBezTo>
                    <a:pt x="13628" y="8933"/>
                    <a:pt x="13639" y="8941"/>
                    <a:pt x="13699" y="8916"/>
                  </a:cubicBezTo>
                  <a:cubicBezTo>
                    <a:pt x="13705" y="8914"/>
                    <a:pt x="13710" y="8911"/>
                    <a:pt x="13716" y="8908"/>
                  </a:cubicBezTo>
                  <a:cubicBezTo>
                    <a:pt x="13798" y="8871"/>
                    <a:pt x="13873" y="8876"/>
                    <a:pt x="13938" y="8944"/>
                  </a:cubicBezTo>
                  <a:cubicBezTo>
                    <a:pt x="13952" y="8959"/>
                    <a:pt x="13968" y="8972"/>
                    <a:pt x="13984" y="8986"/>
                  </a:cubicBezTo>
                  <a:cubicBezTo>
                    <a:pt x="13997" y="8997"/>
                    <a:pt x="14010" y="9008"/>
                    <a:pt x="14027" y="9010"/>
                  </a:cubicBezTo>
                  <a:cubicBezTo>
                    <a:pt x="14043" y="9012"/>
                    <a:pt x="14052" y="9006"/>
                    <a:pt x="14047" y="8989"/>
                  </a:cubicBezTo>
                  <a:cubicBezTo>
                    <a:pt x="14044" y="8979"/>
                    <a:pt x="14039" y="8970"/>
                    <a:pt x="14033" y="8961"/>
                  </a:cubicBezTo>
                  <a:cubicBezTo>
                    <a:pt x="13994" y="8901"/>
                    <a:pt x="13997" y="8835"/>
                    <a:pt x="14007" y="8768"/>
                  </a:cubicBezTo>
                  <a:cubicBezTo>
                    <a:pt x="14014" y="8726"/>
                    <a:pt x="14033" y="8720"/>
                    <a:pt x="14066" y="8751"/>
                  </a:cubicBezTo>
                  <a:cubicBezTo>
                    <a:pt x="14103" y="8787"/>
                    <a:pt x="14143" y="8820"/>
                    <a:pt x="14170" y="8866"/>
                  </a:cubicBezTo>
                  <a:cubicBezTo>
                    <a:pt x="14190" y="8899"/>
                    <a:pt x="14210" y="8895"/>
                    <a:pt x="14227" y="8860"/>
                  </a:cubicBezTo>
                  <a:cubicBezTo>
                    <a:pt x="14253" y="8807"/>
                    <a:pt x="14266" y="8751"/>
                    <a:pt x="14267" y="8692"/>
                  </a:cubicBezTo>
                  <a:cubicBezTo>
                    <a:pt x="14268" y="8644"/>
                    <a:pt x="14275" y="8597"/>
                    <a:pt x="14288" y="8551"/>
                  </a:cubicBezTo>
                  <a:cubicBezTo>
                    <a:pt x="14297" y="8521"/>
                    <a:pt x="14305" y="8491"/>
                    <a:pt x="14312" y="8460"/>
                  </a:cubicBezTo>
                  <a:cubicBezTo>
                    <a:pt x="14331" y="8367"/>
                    <a:pt x="14352" y="8274"/>
                    <a:pt x="14407" y="8194"/>
                  </a:cubicBezTo>
                  <a:cubicBezTo>
                    <a:pt x="14436" y="8152"/>
                    <a:pt x="14436" y="8099"/>
                    <a:pt x="14452" y="8052"/>
                  </a:cubicBezTo>
                  <a:cubicBezTo>
                    <a:pt x="14455" y="8045"/>
                    <a:pt x="14453" y="8035"/>
                    <a:pt x="14450" y="8028"/>
                  </a:cubicBezTo>
                  <a:cubicBezTo>
                    <a:pt x="14421" y="7971"/>
                    <a:pt x="14428" y="7910"/>
                    <a:pt x="14428" y="7850"/>
                  </a:cubicBezTo>
                  <a:cubicBezTo>
                    <a:pt x="14428" y="7832"/>
                    <a:pt x="14429" y="7813"/>
                    <a:pt x="14421" y="7795"/>
                  </a:cubicBezTo>
                  <a:cubicBezTo>
                    <a:pt x="14416" y="7783"/>
                    <a:pt x="14408" y="7772"/>
                    <a:pt x="14393" y="7776"/>
                  </a:cubicBezTo>
                  <a:cubicBezTo>
                    <a:pt x="14381" y="7779"/>
                    <a:pt x="14379" y="7791"/>
                    <a:pt x="14379" y="7801"/>
                  </a:cubicBezTo>
                  <a:cubicBezTo>
                    <a:pt x="14378" y="7836"/>
                    <a:pt x="14380" y="7872"/>
                    <a:pt x="14378" y="7907"/>
                  </a:cubicBezTo>
                  <a:cubicBezTo>
                    <a:pt x="14377" y="7951"/>
                    <a:pt x="14374" y="7995"/>
                    <a:pt x="14356" y="8035"/>
                  </a:cubicBezTo>
                  <a:cubicBezTo>
                    <a:pt x="14339" y="8071"/>
                    <a:pt x="14318" y="8072"/>
                    <a:pt x="14297" y="8039"/>
                  </a:cubicBezTo>
                  <a:cubicBezTo>
                    <a:pt x="14280" y="8013"/>
                    <a:pt x="14269" y="7983"/>
                    <a:pt x="14254" y="7956"/>
                  </a:cubicBezTo>
                  <a:cubicBezTo>
                    <a:pt x="14222" y="7900"/>
                    <a:pt x="14218" y="7851"/>
                    <a:pt x="14262" y="7796"/>
                  </a:cubicBezTo>
                  <a:cubicBezTo>
                    <a:pt x="14331" y="7709"/>
                    <a:pt x="14291" y="7620"/>
                    <a:pt x="14230" y="7549"/>
                  </a:cubicBezTo>
                  <a:cubicBezTo>
                    <a:pt x="14225" y="7542"/>
                    <a:pt x="14218" y="7537"/>
                    <a:pt x="14208" y="7541"/>
                  </a:cubicBezTo>
                  <a:cubicBezTo>
                    <a:pt x="14200" y="7545"/>
                    <a:pt x="14197" y="7553"/>
                    <a:pt x="14196" y="7561"/>
                  </a:cubicBezTo>
                  <a:cubicBezTo>
                    <a:pt x="14196" y="7567"/>
                    <a:pt x="14196" y="7574"/>
                    <a:pt x="14198" y="7580"/>
                  </a:cubicBezTo>
                  <a:cubicBezTo>
                    <a:pt x="14214" y="7633"/>
                    <a:pt x="14191" y="7678"/>
                    <a:pt x="14168" y="7722"/>
                  </a:cubicBezTo>
                  <a:cubicBezTo>
                    <a:pt x="14157" y="7743"/>
                    <a:pt x="14143" y="7763"/>
                    <a:pt x="14116" y="7761"/>
                  </a:cubicBezTo>
                  <a:cubicBezTo>
                    <a:pt x="14090" y="7759"/>
                    <a:pt x="14085" y="7737"/>
                    <a:pt x="14078" y="7717"/>
                  </a:cubicBezTo>
                  <a:cubicBezTo>
                    <a:pt x="14055" y="7649"/>
                    <a:pt x="14053" y="7579"/>
                    <a:pt x="14068" y="7509"/>
                  </a:cubicBezTo>
                  <a:cubicBezTo>
                    <a:pt x="14074" y="7482"/>
                    <a:pt x="14084" y="7457"/>
                    <a:pt x="14071" y="7429"/>
                  </a:cubicBezTo>
                  <a:cubicBezTo>
                    <a:pt x="14042" y="7364"/>
                    <a:pt x="13914" y="7323"/>
                    <a:pt x="13853" y="7360"/>
                  </a:cubicBezTo>
                  <a:cubicBezTo>
                    <a:pt x="13851" y="7361"/>
                    <a:pt x="13849" y="7362"/>
                    <a:pt x="13848" y="7364"/>
                  </a:cubicBezTo>
                  <a:cubicBezTo>
                    <a:pt x="13802" y="7407"/>
                    <a:pt x="13745" y="7426"/>
                    <a:pt x="13686" y="7438"/>
                  </a:cubicBezTo>
                  <a:cubicBezTo>
                    <a:pt x="13627" y="7450"/>
                    <a:pt x="13583" y="7490"/>
                    <a:pt x="13529" y="7512"/>
                  </a:cubicBezTo>
                  <a:cubicBezTo>
                    <a:pt x="13518" y="7516"/>
                    <a:pt x="13509" y="7526"/>
                    <a:pt x="13501" y="7536"/>
                  </a:cubicBezTo>
                  <a:cubicBezTo>
                    <a:pt x="13482" y="7556"/>
                    <a:pt x="13485" y="7573"/>
                    <a:pt x="13510" y="7584"/>
                  </a:cubicBezTo>
                  <a:cubicBezTo>
                    <a:pt x="13537" y="7597"/>
                    <a:pt x="13562" y="7610"/>
                    <a:pt x="13582" y="7633"/>
                  </a:cubicBezTo>
                  <a:cubicBezTo>
                    <a:pt x="13613" y="7669"/>
                    <a:pt x="13646" y="7701"/>
                    <a:pt x="13699" y="7669"/>
                  </a:cubicBezTo>
                  <a:cubicBezTo>
                    <a:pt x="13703" y="7667"/>
                    <a:pt x="13711" y="7668"/>
                    <a:pt x="13717" y="7668"/>
                  </a:cubicBezTo>
                  <a:cubicBezTo>
                    <a:pt x="13806" y="7679"/>
                    <a:pt x="13881" y="7712"/>
                    <a:pt x="13924" y="7797"/>
                  </a:cubicBezTo>
                  <a:cubicBezTo>
                    <a:pt x="13943" y="7835"/>
                    <a:pt x="13938" y="7854"/>
                    <a:pt x="13898" y="7854"/>
                  </a:cubicBezTo>
                  <a:cubicBezTo>
                    <a:pt x="13841" y="7854"/>
                    <a:pt x="13782" y="7872"/>
                    <a:pt x="13729" y="7834"/>
                  </a:cubicBezTo>
                  <a:cubicBezTo>
                    <a:pt x="13722" y="7829"/>
                    <a:pt x="13711" y="7822"/>
                    <a:pt x="13698" y="7832"/>
                  </a:cubicBezTo>
                  <a:close/>
                  <a:moveTo>
                    <a:pt x="14554" y="10453"/>
                  </a:moveTo>
                  <a:cubicBezTo>
                    <a:pt x="14548" y="10421"/>
                    <a:pt x="14522" y="10398"/>
                    <a:pt x="14509" y="10367"/>
                  </a:cubicBezTo>
                  <a:cubicBezTo>
                    <a:pt x="14490" y="10320"/>
                    <a:pt x="14451" y="10291"/>
                    <a:pt x="14400" y="10286"/>
                  </a:cubicBezTo>
                  <a:cubicBezTo>
                    <a:pt x="14346" y="10281"/>
                    <a:pt x="14300" y="10256"/>
                    <a:pt x="14253" y="10234"/>
                  </a:cubicBezTo>
                  <a:cubicBezTo>
                    <a:pt x="14221" y="10218"/>
                    <a:pt x="14195" y="10188"/>
                    <a:pt x="14168" y="10163"/>
                  </a:cubicBezTo>
                  <a:cubicBezTo>
                    <a:pt x="14156" y="10152"/>
                    <a:pt x="14151" y="10138"/>
                    <a:pt x="14168" y="10126"/>
                  </a:cubicBezTo>
                  <a:cubicBezTo>
                    <a:pt x="14230" y="10082"/>
                    <a:pt x="14339" y="10084"/>
                    <a:pt x="14397" y="10132"/>
                  </a:cubicBezTo>
                  <a:cubicBezTo>
                    <a:pt x="14409" y="10141"/>
                    <a:pt x="14418" y="10152"/>
                    <a:pt x="14428" y="10163"/>
                  </a:cubicBezTo>
                  <a:cubicBezTo>
                    <a:pt x="14435" y="10169"/>
                    <a:pt x="14442" y="10173"/>
                    <a:pt x="14450" y="10168"/>
                  </a:cubicBezTo>
                  <a:cubicBezTo>
                    <a:pt x="14457" y="10164"/>
                    <a:pt x="14460" y="10155"/>
                    <a:pt x="14458" y="10146"/>
                  </a:cubicBezTo>
                  <a:cubicBezTo>
                    <a:pt x="14449" y="10104"/>
                    <a:pt x="14430" y="10068"/>
                    <a:pt x="14393" y="10045"/>
                  </a:cubicBezTo>
                  <a:cubicBezTo>
                    <a:pt x="14287" y="9980"/>
                    <a:pt x="14285" y="9864"/>
                    <a:pt x="14347" y="9767"/>
                  </a:cubicBezTo>
                  <a:cubicBezTo>
                    <a:pt x="14361" y="9746"/>
                    <a:pt x="14386" y="9741"/>
                    <a:pt x="14399" y="9761"/>
                  </a:cubicBezTo>
                  <a:cubicBezTo>
                    <a:pt x="14430" y="9806"/>
                    <a:pt x="14477" y="9837"/>
                    <a:pt x="14506" y="9882"/>
                  </a:cubicBezTo>
                  <a:cubicBezTo>
                    <a:pt x="14526" y="9912"/>
                    <a:pt x="14539" y="9942"/>
                    <a:pt x="14522" y="9981"/>
                  </a:cubicBezTo>
                  <a:cubicBezTo>
                    <a:pt x="14506" y="10018"/>
                    <a:pt x="14510" y="10059"/>
                    <a:pt x="14525" y="10097"/>
                  </a:cubicBezTo>
                  <a:cubicBezTo>
                    <a:pt x="14530" y="10109"/>
                    <a:pt x="14538" y="10120"/>
                    <a:pt x="14552" y="10119"/>
                  </a:cubicBezTo>
                  <a:cubicBezTo>
                    <a:pt x="14568" y="10119"/>
                    <a:pt x="14570" y="10105"/>
                    <a:pt x="14571" y="10092"/>
                  </a:cubicBezTo>
                  <a:cubicBezTo>
                    <a:pt x="14573" y="10078"/>
                    <a:pt x="14573" y="10063"/>
                    <a:pt x="14576" y="10049"/>
                  </a:cubicBezTo>
                  <a:cubicBezTo>
                    <a:pt x="14589" y="9987"/>
                    <a:pt x="14619" y="9937"/>
                    <a:pt x="14676" y="9906"/>
                  </a:cubicBezTo>
                  <a:cubicBezTo>
                    <a:pt x="14708" y="9889"/>
                    <a:pt x="14728" y="9897"/>
                    <a:pt x="14737" y="9931"/>
                  </a:cubicBezTo>
                  <a:cubicBezTo>
                    <a:pt x="14743" y="9953"/>
                    <a:pt x="14744" y="9977"/>
                    <a:pt x="14749" y="9999"/>
                  </a:cubicBezTo>
                  <a:cubicBezTo>
                    <a:pt x="14767" y="10069"/>
                    <a:pt x="14736" y="10119"/>
                    <a:pt x="14685" y="10162"/>
                  </a:cubicBezTo>
                  <a:cubicBezTo>
                    <a:pt x="14660" y="10183"/>
                    <a:pt x="14631" y="10201"/>
                    <a:pt x="14600" y="10214"/>
                  </a:cubicBezTo>
                  <a:cubicBezTo>
                    <a:pt x="14578" y="10222"/>
                    <a:pt x="14565" y="10241"/>
                    <a:pt x="14571" y="10263"/>
                  </a:cubicBezTo>
                  <a:cubicBezTo>
                    <a:pt x="14584" y="10307"/>
                    <a:pt x="14607" y="10347"/>
                    <a:pt x="14641" y="10379"/>
                  </a:cubicBezTo>
                  <a:cubicBezTo>
                    <a:pt x="14657" y="10395"/>
                    <a:pt x="14675" y="10388"/>
                    <a:pt x="14685" y="10365"/>
                  </a:cubicBezTo>
                  <a:cubicBezTo>
                    <a:pt x="14689" y="10356"/>
                    <a:pt x="14690" y="10345"/>
                    <a:pt x="14692" y="10335"/>
                  </a:cubicBezTo>
                  <a:cubicBezTo>
                    <a:pt x="14707" y="10272"/>
                    <a:pt x="14754" y="10239"/>
                    <a:pt x="14806" y="10211"/>
                  </a:cubicBezTo>
                  <a:cubicBezTo>
                    <a:pt x="14823" y="10202"/>
                    <a:pt x="14849" y="10196"/>
                    <a:pt x="14855" y="10219"/>
                  </a:cubicBezTo>
                  <a:cubicBezTo>
                    <a:pt x="14866" y="10264"/>
                    <a:pt x="14889" y="10310"/>
                    <a:pt x="14864" y="10358"/>
                  </a:cubicBezTo>
                  <a:cubicBezTo>
                    <a:pt x="14847" y="10391"/>
                    <a:pt x="14828" y="10423"/>
                    <a:pt x="14808" y="10454"/>
                  </a:cubicBezTo>
                  <a:cubicBezTo>
                    <a:pt x="14785" y="10488"/>
                    <a:pt x="14787" y="10496"/>
                    <a:pt x="14825" y="10512"/>
                  </a:cubicBezTo>
                  <a:cubicBezTo>
                    <a:pt x="14837" y="10517"/>
                    <a:pt x="14848" y="10521"/>
                    <a:pt x="14860" y="10524"/>
                  </a:cubicBezTo>
                  <a:cubicBezTo>
                    <a:pt x="14914" y="10540"/>
                    <a:pt x="14939" y="10528"/>
                    <a:pt x="14940" y="10473"/>
                  </a:cubicBezTo>
                  <a:cubicBezTo>
                    <a:pt x="14941" y="10394"/>
                    <a:pt x="14968" y="10323"/>
                    <a:pt x="14997" y="10252"/>
                  </a:cubicBezTo>
                  <a:cubicBezTo>
                    <a:pt x="15025" y="10184"/>
                    <a:pt x="15019" y="10118"/>
                    <a:pt x="14985" y="10053"/>
                  </a:cubicBezTo>
                  <a:cubicBezTo>
                    <a:pt x="14954" y="9994"/>
                    <a:pt x="14912" y="9943"/>
                    <a:pt x="14868" y="9893"/>
                  </a:cubicBezTo>
                  <a:cubicBezTo>
                    <a:pt x="14822" y="9840"/>
                    <a:pt x="14762" y="9797"/>
                    <a:pt x="14730" y="9733"/>
                  </a:cubicBezTo>
                  <a:cubicBezTo>
                    <a:pt x="14678" y="9631"/>
                    <a:pt x="14608" y="9541"/>
                    <a:pt x="14556" y="9440"/>
                  </a:cubicBezTo>
                  <a:cubicBezTo>
                    <a:pt x="14540" y="9409"/>
                    <a:pt x="14516" y="9386"/>
                    <a:pt x="14487" y="9369"/>
                  </a:cubicBezTo>
                  <a:cubicBezTo>
                    <a:pt x="14457" y="9352"/>
                    <a:pt x="14439" y="9358"/>
                    <a:pt x="14431" y="9391"/>
                  </a:cubicBezTo>
                  <a:cubicBezTo>
                    <a:pt x="14425" y="9417"/>
                    <a:pt x="14423" y="9444"/>
                    <a:pt x="14418" y="9471"/>
                  </a:cubicBezTo>
                  <a:cubicBezTo>
                    <a:pt x="14411" y="9512"/>
                    <a:pt x="14382" y="9542"/>
                    <a:pt x="14347" y="9548"/>
                  </a:cubicBezTo>
                  <a:cubicBezTo>
                    <a:pt x="14296" y="9558"/>
                    <a:pt x="14243" y="9555"/>
                    <a:pt x="14191" y="9547"/>
                  </a:cubicBezTo>
                  <a:cubicBezTo>
                    <a:pt x="14167" y="9544"/>
                    <a:pt x="14161" y="9527"/>
                    <a:pt x="14174" y="9506"/>
                  </a:cubicBezTo>
                  <a:cubicBezTo>
                    <a:pt x="14179" y="9497"/>
                    <a:pt x="14187" y="9490"/>
                    <a:pt x="14194" y="9482"/>
                  </a:cubicBezTo>
                  <a:cubicBezTo>
                    <a:pt x="14231" y="9434"/>
                    <a:pt x="14272" y="9390"/>
                    <a:pt x="14316" y="9349"/>
                  </a:cubicBezTo>
                  <a:cubicBezTo>
                    <a:pt x="14342" y="9324"/>
                    <a:pt x="14338" y="9297"/>
                    <a:pt x="14310" y="9273"/>
                  </a:cubicBezTo>
                  <a:cubicBezTo>
                    <a:pt x="14290" y="9255"/>
                    <a:pt x="14270" y="9259"/>
                    <a:pt x="14246" y="9285"/>
                  </a:cubicBezTo>
                  <a:cubicBezTo>
                    <a:pt x="14235" y="9298"/>
                    <a:pt x="14229" y="9313"/>
                    <a:pt x="14221" y="9328"/>
                  </a:cubicBezTo>
                  <a:cubicBezTo>
                    <a:pt x="14197" y="9374"/>
                    <a:pt x="14176" y="9421"/>
                    <a:pt x="14147" y="9464"/>
                  </a:cubicBezTo>
                  <a:cubicBezTo>
                    <a:pt x="14112" y="9517"/>
                    <a:pt x="14094" y="9577"/>
                    <a:pt x="14079" y="9636"/>
                  </a:cubicBezTo>
                  <a:cubicBezTo>
                    <a:pt x="14040" y="9788"/>
                    <a:pt x="14026" y="9943"/>
                    <a:pt x="14031" y="10100"/>
                  </a:cubicBezTo>
                  <a:cubicBezTo>
                    <a:pt x="14033" y="10158"/>
                    <a:pt x="14035" y="10217"/>
                    <a:pt x="14044" y="10274"/>
                  </a:cubicBezTo>
                  <a:cubicBezTo>
                    <a:pt x="14062" y="10390"/>
                    <a:pt x="14067" y="10507"/>
                    <a:pt x="14055" y="10623"/>
                  </a:cubicBezTo>
                  <a:cubicBezTo>
                    <a:pt x="14039" y="10794"/>
                    <a:pt x="14077" y="10948"/>
                    <a:pt x="14174" y="11090"/>
                  </a:cubicBezTo>
                  <a:cubicBezTo>
                    <a:pt x="14201" y="11130"/>
                    <a:pt x="14237" y="11152"/>
                    <a:pt x="14284" y="11164"/>
                  </a:cubicBezTo>
                  <a:cubicBezTo>
                    <a:pt x="14331" y="11175"/>
                    <a:pt x="14376" y="11160"/>
                    <a:pt x="14421" y="11163"/>
                  </a:cubicBezTo>
                  <a:cubicBezTo>
                    <a:pt x="14530" y="11168"/>
                    <a:pt x="14634" y="11136"/>
                    <a:pt x="14729" y="11094"/>
                  </a:cubicBezTo>
                  <a:cubicBezTo>
                    <a:pt x="14866" y="11034"/>
                    <a:pt x="14936" y="10914"/>
                    <a:pt x="14940" y="10760"/>
                  </a:cubicBezTo>
                  <a:cubicBezTo>
                    <a:pt x="14940" y="10742"/>
                    <a:pt x="14936" y="10723"/>
                    <a:pt x="14933" y="10705"/>
                  </a:cubicBezTo>
                  <a:cubicBezTo>
                    <a:pt x="14929" y="10673"/>
                    <a:pt x="14909" y="10657"/>
                    <a:pt x="14878" y="10657"/>
                  </a:cubicBezTo>
                  <a:cubicBezTo>
                    <a:pt x="14846" y="10657"/>
                    <a:pt x="14814" y="10655"/>
                    <a:pt x="14787" y="10639"/>
                  </a:cubicBezTo>
                  <a:cubicBezTo>
                    <a:pt x="14759" y="10620"/>
                    <a:pt x="14726" y="10613"/>
                    <a:pt x="14697" y="10596"/>
                  </a:cubicBezTo>
                  <a:cubicBezTo>
                    <a:pt x="14668" y="10578"/>
                    <a:pt x="14639" y="10577"/>
                    <a:pt x="14608" y="10588"/>
                  </a:cubicBezTo>
                  <a:cubicBezTo>
                    <a:pt x="14588" y="10595"/>
                    <a:pt x="14568" y="10605"/>
                    <a:pt x="14548" y="10605"/>
                  </a:cubicBezTo>
                  <a:cubicBezTo>
                    <a:pt x="14468" y="10606"/>
                    <a:pt x="14399" y="10577"/>
                    <a:pt x="14339" y="10525"/>
                  </a:cubicBezTo>
                  <a:cubicBezTo>
                    <a:pt x="14314" y="10504"/>
                    <a:pt x="14317" y="10477"/>
                    <a:pt x="14347" y="10469"/>
                  </a:cubicBezTo>
                  <a:cubicBezTo>
                    <a:pt x="14403" y="10454"/>
                    <a:pt x="14459" y="10430"/>
                    <a:pt x="14517" y="10460"/>
                  </a:cubicBezTo>
                  <a:cubicBezTo>
                    <a:pt x="14529" y="10465"/>
                    <a:pt x="14541" y="10466"/>
                    <a:pt x="14554" y="10453"/>
                  </a:cubicBezTo>
                  <a:close/>
                  <a:moveTo>
                    <a:pt x="3616" y="15961"/>
                  </a:moveTo>
                  <a:cubicBezTo>
                    <a:pt x="3632" y="15994"/>
                    <a:pt x="3646" y="16019"/>
                    <a:pt x="3657" y="16044"/>
                  </a:cubicBezTo>
                  <a:cubicBezTo>
                    <a:pt x="3663" y="16058"/>
                    <a:pt x="3666" y="16073"/>
                    <a:pt x="3685" y="16074"/>
                  </a:cubicBezTo>
                  <a:cubicBezTo>
                    <a:pt x="3702" y="16075"/>
                    <a:pt x="3709" y="16061"/>
                    <a:pt x="3715" y="16048"/>
                  </a:cubicBezTo>
                  <a:cubicBezTo>
                    <a:pt x="3732" y="16014"/>
                    <a:pt x="3749" y="15981"/>
                    <a:pt x="3767" y="15948"/>
                  </a:cubicBezTo>
                  <a:cubicBezTo>
                    <a:pt x="3772" y="15938"/>
                    <a:pt x="3778" y="15929"/>
                    <a:pt x="3790" y="15932"/>
                  </a:cubicBezTo>
                  <a:cubicBezTo>
                    <a:pt x="3801" y="15935"/>
                    <a:pt x="3804" y="15947"/>
                    <a:pt x="3806" y="15957"/>
                  </a:cubicBezTo>
                  <a:cubicBezTo>
                    <a:pt x="3811" y="15981"/>
                    <a:pt x="3802" y="16001"/>
                    <a:pt x="3792" y="16022"/>
                  </a:cubicBezTo>
                  <a:cubicBezTo>
                    <a:pt x="3764" y="16084"/>
                    <a:pt x="3775" y="16160"/>
                    <a:pt x="3815" y="16196"/>
                  </a:cubicBezTo>
                  <a:cubicBezTo>
                    <a:pt x="3826" y="16206"/>
                    <a:pt x="3837" y="16218"/>
                    <a:pt x="3853" y="16208"/>
                  </a:cubicBezTo>
                  <a:cubicBezTo>
                    <a:pt x="3866" y="16200"/>
                    <a:pt x="3863" y="16187"/>
                    <a:pt x="3860" y="16174"/>
                  </a:cubicBezTo>
                  <a:cubicBezTo>
                    <a:pt x="3856" y="16160"/>
                    <a:pt x="3852" y="16146"/>
                    <a:pt x="3850" y="16132"/>
                  </a:cubicBezTo>
                  <a:cubicBezTo>
                    <a:pt x="3848" y="16123"/>
                    <a:pt x="3851" y="16115"/>
                    <a:pt x="3860" y="16111"/>
                  </a:cubicBezTo>
                  <a:cubicBezTo>
                    <a:pt x="3872" y="16105"/>
                    <a:pt x="3881" y="16111"/>
                    <a:pt x="3884" y="16122"/>
                  </a:cubicBezTo>
                  <a:cubicBezTo>
                    <a:pt x="3893" y="16146"/>
                    <a:pt x="3910" y="16165"/>
                    <a:pt x="3928" y="16182"/>
                  </a:cubicBezTo>
                  <a:cubicBezTo>
                    <a:pt x="3945" y="16199"/>
                    <a:pt x="3967" y="16192"/>
                    <a:pt x="3968" y="16169"/>
                  </a:cubicBezTo>
                  <a:cubicBezTo>
                    <a:pt x="3972" y="16094"/>
                    <a:pt x="3986" y="16020"/>
                    <a:pt x="3963" y="15946"/>
                  </a:cubicBezTo>
                  <a:cubicBezTo>
                    <a:pt x="3930" y="15845"/>
                    <a:pt x="3898" y="15744"/>
                    <a:pt x="3867" y="15642"/>
                  </a:cubicBezTo>
                  <a:cubicBezTo>
                    <a:pt x="3854" y="15599"/>
                    <a:pt x="3838" y="15555"/>
                    <a:pt x="3834" y="15510"/>
                  </a:cubicBezTo>
                  <a:cubicBezTo>
                    <a:pt x="3826" y="15417"/>
                    <a:pt x="3815" y="15324"/>
                    <a:pt x="3832" y="15230"/>
                  </a:cubicBezTo>
                  <a:cubicBezTo>
                    <a:pt x="3835" y="15214"/>
                    <a:pt x="3836" y="15197"/>
                    <a:pt x="3835" y="15181"/>
                  </a:cubicBezTo>
                  <a:cubicBezTo>
                    <a:pt x="3835" y="15154"/>
                    <a:pt x="3823" y="15139"/>
                    <a:pt x="3794" y="15136"/>
                  </a:cubicBezTo>
                  <a:cubicBezTo>
                    <a:pt x="3753" y="15133"/>
                    <a:pt x="3712" y="15125"/>
                    <a:pt x="3670" y="15130"/>
                  </a:cubicBezTo>
                  <a:cubicBezTo>
                    <a:pt x="3586" y="15139"/>
                    <a:pt x="3506" y="15131"/>
                    <a:pt x="3432" y="15079"/>
                  </a:cubicBezTo>
                  <a:cubicBezTo>
                    <a:pt x="3388" y="15046"/>
                    <a:pt x="3331" y="15053"/>
                    <a:pt x="3281" y="15071"/>
                  </a:cubicBezTo>
                  <a:cubicBezTo>
                    <a:pt x="3239" y="15086"/>
                    <a:pt x="3234" y="15130"/>
                    <a:pt x="3229" y="15170"/>
                  </a:cubicBezTo>
                  <a:cubicBezTo>
                    <a:pt x="3222" y="15220"/>
                    <a:pt x="3205" y="15268"/>
                    <a:pt x="3174" y="15308"/>
                  </a:cubicBezTo>
                  <a:cubicBezTo>
                    <a:pt x="3131" y="15362"/>
                    <a:pt x="3107" y="15428"/>
                    <a:pt x="3064" y="15482"/>
                  </a:cubicBezTo>
                  <a:cubicBezTo>
                    <a:pt x="3045" y="15506"/>
                    <a:pt x="3031" y="15535"/>
                    <a:pt x="3017" y="15562"/>
                  </a:cubicBezTo>
                  <a:cubicBezTo>
                    <a:pt x="2970" y="15648"/>
                    <a:pt x="2926" y="15734"/>
                    <a:pt x="2879" y="15819"/>
                  </a:cubicBezTo>
                  <a:cubicBezTo>
                    <a:pt x="2866" y="15841"/>
                    <a:pt x="2858" y="15859"/>
                    <a:pt x="2873" y="15882"/>
                  </a:cubicBezTo>
                  <a:cubicBezTo>
                    <a:pt x="2895" y="15913"/>
                    <a:pt x="2893" y="15949"/>
                    <a:pt x="2891" y="15985"/>
                  </a:cubicBezTo>
                  <a:cubicBezTo>
                    <a:pt x="2889" y="16027"/>
                    <a:pt x="2880" y="16033"/>
                    <a:pt x="2837" y="16030"/>
                  </a:cubicBezTo>
                  <a:cubicBezTo>
                    <a:pt x="2809" y="16028"/>
                    <a:pt x="2798" y="16037"/>
                    <a:pt x="2805" y="16063"/>
                  </a:cubicBezTo>
                  <a:cubicBezTo>
                    <a:pt x="2814" y="16094"/>
                    <a:pt x="2831" y="16119"/>
                    <a:pt x="2859" y="16137"/>
                  </a:cubicBezTo>
                  <a:cubicBezTo>
                    <a:pt x="2885" y="16154"/>
                    <a:pt x="2911" y="16169"/>
                    <a:pt x="2917" y="16206"/>
                  </a:cubicBezTo>
                  <a:cubicBezTo>
                    <a:pt x="2920" y="16226"/>
                    <a:pt x="2940" y="16226"/>
                    <a:pt x="2953" y="16209"/>
                  </a:cubicBezTo>
                  <a:cubicBezTo>
                    <a:pt x="2965" y="16192"/>
                    <a:pt x="2964" y="16173"/>
                    <a:pt x="2967" y="16155"/>
                  </a:cubicBezTo>
                  <a:cubicBezTo>
                    <a:pt x="2970" y="16140"/>
                    <a:pt x="2965" y="16120"/>
                    <a:pt x="2986" y="16114"/>
                  </a:cubicBezTo>
                  <a:cubicBezTo>
                    <a:pt x="2998" y="16117"/>
                    <a:pt x="3002" y="16127"/>
                    <a:pt x="3004" y="16137"/>
                  </a:cubicBezTo>
                  <a:cubicBezTo>
                    <a:pt x="3010" y="16161"/>
                    <a:pt x="3018" y="16185"/>
                    <a:pt x="3018" y="16211"/>
                  </a:cubicBezTo>
                  <a:cubicBezTo>
                    <a:pt x="3018" y="16223"/>
                    <a:pt x="3020" y="16237"/>
                    <a:pt x="3034" y="16242"/>
                  </a:cubicBezTo>
                  <a:cubicBezTo>
                    <a:pt x="3054" y="16249"/>
                    <a:pt x="3059" y="16231"/>
                    <a:pt x="3065" y="16219"/>
                  </a:cubicBezTo>
                  <a:cubicBezTo>
                    <a:pt x="3085" y="16181"/>
                    <a:pt x="3115" y="16148"/>
                    <a:pt x="3124" y="16103"/>
                  </a:cubicBezTo>
                  <a:cubicBezTo>
                    <a:pt x="3130" y="16068"/>
                    <a:pt x="3153" y="16060"/>
                    <a:pt x="3183" y="16079"/>
                  </a:cubicBezTo>
                  <a:cubicBezTo>
                    <a:pt x="3206" y="16093"/>
                    <a:pt x="3226" y="16111"/>
                    <a:pt x="3248" y="16127"/>
                  </a:cubicBezTo>
                  <a:cubicBezTo>
                    <a:pt x="3259" y="16135"/>
                    <a:pt x="3270" y="16152"/>
                    <a:pt x="3285" y="16140"/>
                  </a:cubicBezTo>
                  <a:cubicBezTo>
                    <a:pt x="3301" y="16128"/>
                    <a:pt x="3292" y="16109"/>
                    <a:pt x="3285" y="16094"/>
                  </a:cubicBezTo>
                  <a:cubicBezTo>
                    <a:pt x="3277" y="16077"/>
                    <a:pt x="3267" y="16062"/>
                    <a:pt x="3256" y="16046"/>
                  </a:cubicBezTo>
                  <a:cubicBezTo>
                    <a:pt x="3235" y="16015"/>
                    <a:pt x="3214" y="15984"/>
                    <a:pt x="3193" y="15953"/>
                  </a:cubicBezTo>
                  <a:cubicBezTo>
                    <a:pt x="3188" y="15946"/>
                    <a:pt x="3184" y="15938"/>
                    <a:pt x="3193" y="15932"/>
                  </a:cubicBezTo>
                  <a:cubicBezTo>
                    <a:pt x="3198" y="15928"/>
                    <a:pt x="3206" y="15926"/>
                    <a:pt x="3210" y="15927"/>
                  </a:cubicBezTo>
                  <a:cubicBezTo>
                    <a:pt x="3222" y="15932"/>
                    <a:pt x="3231" y="15941"/>
                    <a:pt x="3243" y="15944"/>
                  </a:cubicBezTo>
                  <a:cubicBezTo>
                    <a:pt x="3277" y="15953"/>
                    <a:pt x="3295" y="15990"/>
                    <a:pt x="3329" y="15997"/>
                  </a:cubicBezTo>
                  <a:cubicBezTo>
                    <a:pt x="3339" y="15985"/>
                    <a:pt x="3334" y="15977"/>
                    <a:pt x="3332" y="15970"/>
                  </a:cubicBezTo>
                  <a:cubicBezTo>
                    <a:pt x="3321" y="15923"/>
                    <a:pt x="3284" y="15899"/>
                    <a:pt x="3250" y="15871"/>
                  </a:cubicBezTo>
                  <a:cubicBezTo>
                    <a:pt x="3222" y="15849"/>
                    <a:pt x="3217" y="15830"/>
                    <a:pt x="3229" y="15801"/>
                  </a:cubicBezTo>
                  <a:cubicBezTo>
                    <a:pt x="3243" y="15768"/>
                    <a:pt x="3276" y="15746"/>
                    <a:pt x="3306" y="15750"/>
                  </a:cubicBezTo>
                  <a:cubicBezTo>
                    <a:pt x="3344" y="15754"/>
                    <a:pt x="3371" y="15773"/>
                    <a:pt x="3370" y="15806"/>
                  </a:cubicBezTo>
                  <a:cubicBezTo>
                    <a:pt x="3369" y="15872"/>
                    <a:pt x="3379" y="15934"/>
                    <a:pt x="3404" y="15994"/>
                  </a:cubicBezTo>
                  <a:cubicBezTo>
                    <a:pt x="3408" y="16003"/>
                    <a:pt x="3406" y="16014"/>
                    <a:pt x="3407" y="16025"/>
                  </a:cubicBezTo>
                  <a:cubicBezTo>
                    <a:pt x="3408" y="16033"/>
                    <a:pt x="3407" y="16042"/>
                    <a:pt x="3409" y="16050"/>
                  </a:cubicBezTo>
                  <a:cubicBezTo>
                    <a:pt x="3414" y="16070"/>
                    <a:pt x="3433" y="16075"/>
                    <a:pt x="3446" y="16060"/>
                  </a:cubicBezTo>
                  <a:cubicBezTo>
                    <a:pt x="3450" y="16056"/>
                    <a:pt x="3454" y="16050"/>
                    <a:pt x="3456" y="16045"/>
                  </a:cubicBezTo>
                  <a:cubicBezTo>
                    <a:pt x="3467" y="16005"/>
                    <a:pt x="3506" y="15990"/>
                    <a:pt x="3528" y="15960"/>
                  </a:cubicBezTo>
                  <a:cubicBezTo>
                    <a:pt x="3534" y="15951"/>
                    <a:pt x="3547" y="15941"/>
                    <a:pt x="3560" y="15952"/>
                  </a:cubicBezTo>
                  <a:cubicBezTo>
                    <a:pt x="3570" y="15961"/>
                    <a:pt x="3561" y="15971"/>
                    <a:pt x="3557" y="15980"/>
                  </a:cubicBezTo>
                  <a:cubicBezTo>
                    <a:pt x="3545" y="16005"/>
                    <a:pt x="3533" y="16029"/>
                    <a:pt x="3522" y="16054"/>
                  </a:cubicBezTo>
                  <a:cubicBezTo>
                    <a:pt x="3514" y="16075"/>
                    <a:pt x="3508" y="16097"/>
                    <a:pt x="3511" y="16121"/>
                  </a:cubicBezTo>
                  <a:cubicBezTo>
                    <a:pt x="3513" y="16133"/>
                    <a:pt x="3516" y="16146"/>
                    <a:pt x="3533" y="16143"/>
                  </a:cubicBezTo>
                  <a:cubicBezTo>
                    <a:pt x="3550" y="16129"/>
                    <a:pt x="3537" y="16100"/>
                    <a:pt x="3562" y="16090"/>
                  </a:cubicBezTo>
                  <a:cubicBezTo>
                    <a:pt x="3581" y="16093"/>
                    <a:pt x="3591" y="16121"/>
                    <a:pt x="3615" y="16111"/>
                  </a:cubicBezTo>
                  <a:cubicBezTo>
                    <a:pt x="3628" y="16064"/>
                    <a:pt x="3601" y="16017"/>
                    <a:pt x="3616" y="15961"/>
                  </a:cubicBezTo>
                  <a:close/>
                  <a:moveTo>
                    <a:pt x="11835" y="3841"/>
                  </a:moveTo>
                  <a:cubicBezTo>
                    <a:pt x="11748" y="3835"/>
                    <a:pt x="11715" y="3857"/>
                    <a:pt x="11676" y="3931"/>
                  </a:cubicBezTo>
                  <a:cubicBezTo>
                    <a:pt x="11641" y="3998"/>
                    <a:pt x="11613" y="4067"/>
                    <a:pt x="11586" y="4137"/>
                  </a:cubicBezTo>
                  <a:cubicBezTo>
                    <a:pt x="11542" y="4249"/>
                    <a:pt x="11529" y="4366"/>
                    <a:pt x="11551" y="4486"/>
                  </a:cubicBezTo>
                  <a:cubicBezTo>
                    <a:pt x="11564" y="4559"/>
                    <a:pt x="11580" y="4632"/>
                    <a:pt x="11603" y="4703"/>
                  </a:cubicBezTo>
                  <a:cubicBezTo>
                    <a:pt x="11634" y="4801"/>
                    <a:pt x="11629" y="4903"/>
                    <a:pt x="11612" y="5006"/>
                  </a:cubicBezTo>
                  <a:cubicBezTo>
                    <a:pt x="11592" y="5118"/>
                    <a:pt x="11574" y="5231"/>
                    <a:pt x="11602" y="5345"/>
                  </a:cubicBezTo>
                  <a:cubicBezTo>
                    <a:pt x="11615" y="5398"/>
                    <a:pt x="11635" y="5443"/>
                    <a:pt x="11678" y="5477"/>
                  </a:cubicBezTo>
                  <a:cubicBezTo>
                    <a:pt x="11703" y="5496"/>
                    <a:pt x="11721" y="5492"/>
                    <a:pt x="11731" y="5463"/>
                  </a:cubicBezTo>
                  <a:cubicBezTo>
                    <a:pt x="11738" y="5444"/>
                    <a:pt x="11742" y="5423"/>
                    <a:pt x="11745" y="5403"/>
                  </a:cubicBezTo>
                  <a:cubicBezTo>
                    <a:pt x="11753" y="5332"/>
                    <a:pt x="11794" y="5289"/>
                    <a:pt x="11862" y="5275"/>
                  </a:cubicBezTo>
                  <a:cubicBezTo>
                    <a:pt x="11904" y="5267"/>
                    <a:pt x="11938" y="5242"/>
                    <a:pt x="11977" y="5229"/>
                  </a:cubicBezTo>
                  <a:cubicBezTo>
                    <a:pt x="11998" y="5222"/>
                    <a:pt x="12013" y="5201"/>
                    <a:pt x="12025" y="5181"/>
                  </a:cubicBezTo>
                  <a:cubicBezTo>
                    <a:pt x="12033" y="5168"/>
                    <a:pt x="12035" y="5153"/>
                    <a:pt x="12026" y="5140"/>
                  </a:cubicBezTo>
                  <a:cubicBezTo>
                    <a:pt x="12017" y="5127"/>
                    <a:pt x="12005" y="5133"/>
                    <a:pt x="11992" y="5135"/>
                  </a:cubicBezTo>
                  <a:cubicBezTo>
                    <a:pt x="11918" y="5148"/>
                    <a:pt x="11844" y="5153"/>
                    <a:pt x="11771" y="5126"/>
                  </a:cubicBezTo>
                  <a:cubicBezTo>
                    <a:pt x="11732" y="5112"/>
                    <a:pt x="11727" y="5101"/>
                    <a:pt x="11755" y="5071"/>
                  </a:cubicBezTo>
                  <a:cubicBezTo>
                    <a:pt x="11801" y="5020"/>
                    <a:pt x="11855" y="4978"/>
                    <a:pt x="11915" y="4946"/>
                  </a:cubicBezTo>
                  <a:cubicBezTo>
                    <a:pt x="11960" y="4922"/>
                    <a:pt x="11998" y="4925"/>
                    <a:pt x="12035" y="4960"/>
                  </a:cubicBezTo>
                  <a:cubicBezTo>
                    <a:pt x="12048" y="4973"/>
                    <a:pt x="12062" y="4985"/>
                    <a:pt x="12076" y="4998"/>
                  </a:cubicBezTo>
                  <a:cubicBezTo>
                    <a:pt x="12114" y="5032"/>
                    <a:pt x="12124" y="5032"/>
                    <a:pt x="12154" y="4989"/>
                  </a:cubicBezTo>
                  <a:cubicBezTo>
                    <a:pt x="12191" y="4936"/>
                    <a:pt x="12228" y="4883"/>
                    <a:pt x="12277" y="4841"/>
                  </a:cubicBezTo>
                  <a:cubicBezTo>
                    <a:pt x="12287" y="4832"/>
                    <a:pt x="12295" y="4822"/>
                    <a:pt x="12288" y="4809"/>
                  </a:cubicBezTo>
                  <a:cubicBezTo>
                    <a:pt x="12282" y="4799"/>
                    <a:pt x="12271" y="4795"/>
                    <a:pt x="12261" y="4798"/>
                  </a:cubicBezTo>
                  <a:cubicBezTo>
                    <a:pt x="12222" y="4807"/>
                    <a:pt x="12182" y="4801"/>
                    <a:pt x="12144" y="4816"/>
                  </a:cubicBezTo>
                  <a:cubicBezTo>
                    <a:pt x="12097" y="4834"/>
                    <a:pt x="12050" y="4826"/>
                    <a:pt x="12004" y="4812"/>
                  </a:cubicBezTo>
                  <a:cubicBezTo>
                    <a:pt x="11982" y="4806"/>
                    <a:pt x="11965" y="4794"/>
                    <a:pt x="11962" y="4771"/>
                  </a:cubicBezTo>
                  <a:cubicBezTo>
                    <a:pt x="11960" y="4750"/>
                    <a:pt x="11976" y="4737"/>
                    <a:pt x="11992" y="4727"/>
                  </a:cubicBezTo>
                  <a:cubicBezTo>
                    <a:pt x="12032" y="4701"/>
                    <a:pt x="12070" y="4671"/>
                    <a:pt x="12113" y="4651"/>
                  </a:cubicBezTo>
                  <a:cubicBezTo>
                    <a:pt x="12204" y="4609"/>
                    <a:pt x="12260" y="4608"/>
                    <a:pt x="12322" y="4663"/>
                  </a:cubicBezTo>
                  <a:cubicBezTo>
                    <a:pt x="12328" y="4668"/>
                    <a:pt x="12334" y="4674"/>
                    <a:pt x="12341" y="4678"/>
                  </a:cubicBezTo>
                  <a:cubicBezTo>
                    <a:pt x="12374" y="4701"/>
                    <a:pt x="12389" y="4699"/>
                    <a:pt x="12415" y="4668"/>
                  </a:cubicBezTo>
                  <a:cubicBezTo>
                    <a:pt x="12437" y="4641"/>
                    <a:pt x="12457" y="4611"/>
                    <a:pt x="12481" y="4585"/>
                  </a:cubicBezTo>
                  <a:cubicBezTo>
                    <a:pt x="12499" y="4566"/>
                    <a:pt x="12493" y="4554"/>
                    <a:pt x="12477" y="4539"/>
                  </a:cubicBezTo>
                  <a:cubicBezTo>
                    <a:pt x="12451" y="4512"/>
                    <a:pt x="12421" y="4490"/>
                    <a:pt x="12388" y="4472"/>
                  </a:cubicBezTo>
                  <a:cubicBezTo>
                    <a:pt x="12324" y="4437"/>
                    <a:pt x="12272" y="4391"/>
                    <a:pt x="12258" y="4314"/>
                  </a:cubicBezTo>
                  <a:cubicBezTo>
                    <a:pt x="12253" y="4288"/>
                    <a:pt x="12240" y="4263"/>
                    <a:pt x="12231" y="4237"/>
                  </a:cubicBezTo>
                  <a:cubicBezTo>
                    <a:pt x="12227" y="4225"/>
                    <a:pt x="12224" y="4212"/>
                    <a:pt x="12209" y="4211"/>
                  </a:cubicBezTo>
                  <a:cubicBezTo>
                    <a:pt x="12192" y="4209"/>
                    <a:pt x="12182" y="4220"/>
                    <a:pt x="12177" y="4235"/>
                  </a:cubicBezTo>
                  <a:cubicBezTo>
                    <a:pt x="12167" y="4266"/>
                    <a:pt x="12148" y="4290"/>
                    <a:pt x="12120" y="4306"/>
                  </a:cubicBezTo>
                  <a:cubicBezTo>
                    <a:pt x="12066" y="4337"/>
                    <a:pt x="12007" y="4348"/>
                    <a:pt x="11947" y="4349"/>
                  </a:cubicBezTo>
                  <a:cubicBezTo>
                    <a:pt x="11921" y="4349"/>
                    <a:pt x="11916" y="4332"/>
                    <a:pt x="11920" y="4311"/>
                  </a:cubicBezTo>
                  <a:cubicBezTo>
                    <a:pt x="11933" y="4246"/>
                    <a:pt x="11955" y="4188"/>
                    <a:pt x="12006" y="4142"/>
                  </a:cubicBezTo>
                  <a:cubicBezTo>
                    <a:pt x="12037" y="4113"/>
                    <a:pt x="12071" y="4092"/>
                    <a:pt x="12111" y="4077"/>
                  </a:cubicBezTo>
                  <a:cubicBezTo>
                    <a:pt x="12148" y="4062"/>
                    <a:pt x="12153" y="4043"/>
                    <a:pt x="12130" y="4010"/>
                  </a:cubicBezTo>
                  <a:cubicBezTo>
                    <a:pt x="12116" y="3989"/>
                    <a:pt x="12099" y="3971"/>
                    <a:pt x="12083" y="3952"/>
                  </a:cubicBezTo>
                  <a:cubicBezTo>
                    <a:pt x="12069" y="3934"/>
                    <a:pt x="12054" y="3938"/>
                    <a:pt x="12041" y="3953"/>
                  </a:cubicBezTo>
                  <a:cubicBezTo>
                    <a:pt x="12033" y="3962"/>
                    <a:pt x="12030" y="3975"/>
                    <a:pt x="12022" y="3984"/>
                  </a:cubicBezTo>
                  <a:cubicBezTo>
                    <a:pt x="11987" y="4027"/>
                    <a:pt x="11951" y="4067"/>
                    <a:pt x="11891" y="4072"/>
                  </a:cubicBezTo>
                  <a:cubicBezTo>
                    <a:pt x="11841" y="4076"/>
                    <a:pt x="11792" y="4068"/>
                    <a:pt x="11743" y="4056"/>
                  </a:cubicBezTo>
                  <a:cubicBezTo>
                    <a:pt x="11714" y="4049"/>
                    <a:pt x="11708" y="4027"/>
                    <a:pt x="11728" y="4005"/>
                  </a:cubicBezTo>
                  <a:cubicBezTo>
                    <a:pt x="11749" y="3981"/>
                    <a:pt x="11778" y="3968"/>
                    <a:pt x="11805" y="3952"/>
                  </a:cubicBezTo>
                  <a:cubicBezTo>
                    <a:pt x="11841" y="3931"/>
                    <a:pt x="11878" y="3914"/>
                    <a:pt x="11914" y="3893"/>
                  </a:cubicBezTo>
                  <a:cubicBezTo>
                    <a:pt x="11933" y="3882"/>
                    <a:pt x="11931" y="3867"/>
                    <a:pt x="11913" y="3855"/>
                  </a:cubicBezTo>
                  <a:cubicBezTo>
                    <a:pt x="11888" y="3839"/>
                    <a:pt x="11860" y="3847"/>
                    <a:pt x="11835" y="3841"/>
                  </a:cubicBezTo>
                  <a:close/>
                  <a:moveTo>
                    <a:pt x="12809" y="6779"/>
                  </a:moveTo>
                  <a:cubicBezTo>
                    <a:pt x="12801" y="6700"/>
                    <a:pt x="12826" y="6642"/>
                    <a:pt x="12869" y="6591"/>
                  </a:cubicBezTo>
                  <a:cubicBezTo>
                    <a:pt x="12899" y="6554"/>
                    <a:pt x="12934" y="6544"/>
                    <a:pt x="12973" y="6568"/>
                  </a:cubicBezTo>
                  <a:cubicBezTo>
                    <a:pt x="13027" y="6600"/>
                    <a:pt x="13082" y="6590"/>
                    <a:pt x="13137" y="6582"/>
                  </a:cubicBezTo>
                  <a:cubicBezTo>
                    <a:pt x="13164" y="6578"/>
                    <a:pt x="13172" y="6557"/>
                    <a:pt x="13153" y="6538"/>
                  </a:cubicBezTo>
                  <a:cubicBezTo>
                    <a:pt x="13132" y="6517"/>
                    <a:pt x="13107" y="6496"/>
                    <a:pt x="13077" y="6499"/>
                  </a:cubicBezTo>
                  <a:cubicBezTo>
                    <a:pt x="13010" y="6508"/>
                    <a:pt x="12974" y="6464"/>
                    <a:pt x="12937" y="6422"/>
                  </a:cubicBezTo>
                  <a:cubicBezTo>
                    <a:pt x="12911" y="6391"/>
                    <a:pt x="12919" y="6365"/>
                    <a:pt x="12956" y="6356"/>
                  </a:cubicBezTo>
                  <a:cubicBezTo>
                    <a:pt x="13000" y="6345"/>
                    <a:pt x="13046" y="6339"/>
                    <a:pt x="13092" y="6343"/>
                  </a:cubicBezTo>
                  <a:cubicBezTo>
                    <a:pt x="13130" y="6347"/>
                    <a:pt x="13163" y="6361"/>
                    <a:pt x="13185" y="6396"/>
                  </a:cubicBezTo>
                  <a:cubicBezTo>
                    <a:pt x="13200" y="6418"/>
                    <a:pt x="13218" y="6439"/>
                    <a:pt x="13232" y="6462"/>
                  </a:cubicBezTo>
                  <a:cubicBezTo>
                    <a:pt x="13282" y="6543"/>
                    <a:pt x="13333" y="6624"/>
                    <a:pt x="13385" y="6705"/>
                  </a:cubicBezTo>
                  <a:cubicBezTo>
                    <a:pt x="13394" y="6719"/>
                    <a:pt x="13397" y="6746"/>
                    <a:pt x="13421" y="6741"/>
                  </a:cubicBezTo>
                  <a:cubicBezTo>
                    <a:pt x="13444" y="6737"/>
                    <a:pt x="13449" y="6712"/>
                    <a:pt x="13455" y="6692"/>
                  </a:cubicBezTo>
                  <a:cubicBezTo>
                    <a:pt x="13458" y="6680"/>
                    <a:pt x="13458" y="6668"/>
                    <a:pt x="13460" y="6655"/>
                  </a:cubicBezTo>
                  <a:cubicBezTo>
                    <a:pt x="13475" y="6573"/>
                    <a:pt x="13463" y="6489"/>
                    <a:pt x="13469" y="6406"/>
                  </a:cubicBezTo>
                  <a:cubicBezTo>
                    <a:pt x="13477" y="6309"/>
                    <a:pt x="13467" y="6217"/>
                    <a:pt x="13430" y="6127"/>
                  </a:cubicBezTo>
                  <a:cubicBezTo>
                    <a:pt x="13393" y="6038"/>
                    <a:pt x="13294" y="5974"/>
                    <a:pt x="13202" y="5987"/>
                  </a:cubicBezTo>
                  <a:cubicBezTo>
                    <a:pt x="13186" y="5990"/>
                    <a:pt x="13181" y="5999"/>
                    <a:pt x="13189" y="6013"/>
                  </a:cubicBezTo>
                  <a:cubicBezTo>
                    <a:pt x="13195" y="6022"/>
                    <a:pt x="13202" y="6031"/>
                    <a:pt x="13210" y="6037"/>
                  </a:cubicBezTo>
                  <a:cubicBezTo>
                    <a:pt x="13264" y="6079"/>
                    <a:pt x="13293" y="6140"/>
                    <a:pt x="13330" y="6195"/>
                  </a:cubicBezTo>
                  <a:cubicBezTo>
                    <a:pt x="13348" y="6222"/>
                    <a:pt x="13337" y="6241"/>
                    <a:pt x="13304" y="6236"/>
                  </a:cubicBezTo>
                  <a:cubicBezTo>
                    <a:pt x="13259" y="6229"/>
                    <a:pt x="13214" y="6224"/>
                    <a:pt x="13169" y="6213"/>
                  </a:cubicBezTo>
                  <a:cubicBezTo>
                    <a:pt x="13128" y="6201"/>
                    <a:pt x="13100" y="6176"/>
                    <a:pt x="13083" y="6138"/>
                  </a:cubicBezTo>
                  <a:cubicBezTo>
                    <a:pt x="13057" y="6081"/>
                    <a:pt x="13010" y="6064"/>
                    <a:pt x="12961" y="6100"/>
                  </a:cubicBezTo>
                  <a:cubicBezTo>
                    <a:pt x="12930" y="6123"/>
                    <a:pt x="12897" y="6149"/>
                    <a:pt x="12876" y="6181"/>
                  </a:cubicBezTo>
                  <a:cubicBezTo>
                    <a:pt x="12814" y="6274"/>
                    <a:pt x="12728" y="6348"/>
                    <a:pt x="12684" y="6452"/>
                  </a:cubicBezTo>
                  <a:cubicBezTo>
                    <a:pt x="12667" y="6490"/>
                    <a:pt x="12635" y="6514"/>
                    <a:pt x="12613" y="6547"/>
                  </a:cubicBezTo>
                  <a:cubicBezTo>
                    <a:pt x="12593" y="6579"/>
                    <a:pt x="12571" y="6614"/>
                    <a:pt x="12587" y="6652"/>
                  </a:cubicBezTo>
                  <a:cubicBezTo>
                    <a:pt x="12605" y="6698"/>
                    <a:pt x="12620" y="6745"/>
                    <a:pt x="12646" y="6789"/>
                  </a:cubicBezTo>
                  <a:cubicBezTo>
                    <a:pt x="12715" y="6906"/>
                    <a:pt x="12801" y="7013"/>
                    <a:pt x="12850" y="7143"/>
                  </a:cubicBezTo>
                  <a:cubicBezTo>
                    <a:pt x="12878" y="7218"/>
                    <a:pt x="12914" y="7291"/>
                    <a:pt x="12941" y="7367"/>
                  </a:cubicBezTo>
                  <a:cubicBezTo>
                    <a:pt x="12965" y="7433"/>
                    <a:pt x="12983" y="7502"/>
                    <a:pt x="13028" y="7559"/>
                  </a:cubicBezTo>
                  <a:cubicBezTo>
                    <a:pt x="13051" y="7588"/>
                    <a:pt x="13061" y="7590"/>
                    <a:pt x="13083" y="7559"/>
                  </a:cubicBezTo>
                  <a:cubicBezTo>
                    <a:pt x="13117" y="7509"/>
                    <a:pt x="13147" y="7456"/>
                    <a:pt x="13166" y="7399"/>
                  </a:cubicBezTo>
                  <a:cubicBezTo>
                    <a:pt x="13187" y="7335"/>
                    <a:pt x="13212" y="7275"/>
                    <a:pt x="13244" y="7216"/>
                  </a:cubicBezTo>
                  <a:cubicBezTo>
                    <a:pt x="13279" y="7152"/>
                    <a:pt x="13311" y="7087"/>
                    <a:pt x="13343" y="7022"/>
                  </a:cubicBezTo>
                  <a:cubicBezTo>
                    <a:pt x="13358" y="6990"/>
                    <a:pt x="13365" y="6955"/>
                    <a:pt x="13368" y="6920"/>
                  </a:cubicBezTo>
                  <a:cubicBezTo>
                    <a:pt x="13373" y="6872"/>
                    <a:pt x="13362" y="6829"/>
                    <a:pt x="13327" y="6794"/>
                  </a:cubicBezTo>
                  <a:cubicBezTo>
                    <a:pt x="13301" y="6768"/>
                    <a:pt x="13275" y="6768"/>
                    <a:pt x="13255" y="6798"/>
                  </a:cubicBezTo>
                  <a:cubicBezTo>
                    <a:pt x="13242" y="6817"/>
                    <a:pt x="13233" y="6838"/>
                    <a:pt x="13229" y="6861"/>
                  </a:cubicBezTo>
                  <a:cubicBezTo>
                    <a:pt x="13224" y="6897"/>
                    <a:pt x="13200" y="6922"/>
                    <a:pt x="13171" y="6939"/>
                  </a:cubicBezTo>
                  <a:cubicBezTo>
                    <a:pt x="13130" y="6962"/>
                    <a:pt x="13087" y="6982"/>
                    <a:pt x="13043" y="7001"/>
                  </a:cubicBezTo>
                  <a:cubicBezTo>
                    <a:pt x="13014" y="7013"/>
                    <a:pt x="13004" y="7006"/>
                    <a:pt x="13004" y="6976"/>
                  </a:cubicBezTo>
                  <a:cubicBezTo>
                    <a:pt x="13003" y="6955"/>
                    <a:pt x="13004" y="6934"/>
                    <a:pt x="13005" y="6913"/>
                  </a:cubicBezTo>
                  <a:cubicBezTo>
                    <a:pt x="13011" y="6820"/>
                    <a:pt x="13051" y="6729"/>
                    <a:pt x="13158" y="6728"/>
                  </a:cubicBezTo>
                  <a:cubicBezTo>
                    <a:pt x="13162" y="6728"/>
                    <a:pt x="13166" y="6727"/>
                    <a:pt x="13170" y="6726"/>
                  </a:cubicBezTo>
                  <a:cubicBezTo>
                    <a:pt x="13187" y="6721"/>
                    <a:pt x="13203" y="6712"/>
                    <a:pt x="13203" y="6693"/>
                  </a:cubicBezTo>
                  <a:cubicBezTo>
                    <a:pt x="13203" y="6670"/>
                    <a:pt x="13184" y="6660"/>
                    <a:pt x="13164" y="6661"/>
                  </a:cubicBezTo>
                  <a:cubicBezTo>
                    <a:pt x="13117" y="6662"/>
                    <a:pt x="13068" y="6662"/>
                    <a:pt x="13031" y="6701"/>
                  </a:cubicBezTo>
                  <a:cubicBezTo>
                    <a:pt x="13011" y="6722"/>
                    <a:pt x="12991" y="6743"/>
                    <a:pt x="12970" y="6763"/>
                  </a:cubicBezTo>
                  <a:cubicBezTo>
                    <a:pt x="12951" y="6782"/>
                    <a:pt x="12933" y="6802"/>
                    <a:pt x="12912" y="6819"/>
                  </a:cubicBezTo>
                  <a:cubicBezTo>
                    <a:pt x="12887" y="6840"/>
                    <a:pt x="12853" y="6850"/>
                    <a:pt x="12825" y="6841"/>
                  </a:cubicBezTo>
                  <a:cubicBezTo>
                    <a:pt x="12792" y="6830"/>
                    <a:pt x="12812" y="6794"/>
                    <a:pt x="12809" y="6779"/>
                  </a:cubicBezTo>
                  <a:close/>
                  <a:moveTo>
                    <a:pt x="14790" y="3937"/>
                  </a:moveTo>
                  <a:cubicBezTo>
                    <a:pt x="14781" y="3927"/>
                    <a:pt x="14775" y="3923"/>
                    <a:pt x="14772" y="3918"/>
                  </a:cubicBezTo>
                  <a:cubicBezTo>
                    <a:pt x="14717" y="3814"/>
                    <a:pt x="14694" y="3704"/>
                    <a:pt x="14712" y="3586"/>
                  </a:cubicBezTo>
                  <a:cubicBezTo>
                    <a:pt x="14720" y="3535"/>
                    <a:pt x="14713" y="3530"/>
                    <a:pt x="14662" y="3521"/>
                  </a:cubicBezTo>
                  <a:cubicBezTo>
                    <a:pt x="14597" y="3510"/>
                    <a:pt x="14537" y="3522"/>
                    <a:pt x="14473" y="3540"/>
                  </a:cubicBezTo>
                  <a:cubicBezTo>
                    <a:pt x="14387" y="3563"/>
                    <a:pt x="14318" y="3607"/>
                    <a:pt x="14253" y="3664"/>
                  </a:cubicBezTo>
                  <a:cubicBezTo>
                    <a:pt x="14217" y="3695"/>
                    <a:pt x="14183" y="3729"/>
                    <a:pt x="14145" y="3758"/>
                  </a:cubicBezTo>
                  <a:cubicBezTo>
                    <a:pt x="14095" y="3795"/>
                    <a:pt x="14068" y="3850"/>
                    <a:pt x="14032" y="3898"/>
                  </a:cubicBezTo>
                  <a:cubicBezTo>
                    <a:pt x="14027" y="3905"/>
                    <a:pt x="14026" y="3913"/>
                    <a:pt x="14030" y="3922"/>
                  </a:cubicBezTo>
                  <a:cubicBezTo>
                    <a:pt x="14036" y="3933"/>
                    <a:pt x="14047" y="3933"/>
                    <a:pt x="14057" y="3930"/>
                  </a:cubicBezTo>
                  <a:cubicBezTo>
                    <a:pt x="14075" y="3924"/>
                    <a:pt x="14092" y="3918"/>
                    <a:pt x="14110" y="3912"/>
                  </a:cubicBezTo>
                  <a:cubicBezTo>
                    <a:pt x="14173" y="3891"/>
                    <a:pt x="14269" y="3910"/>
                    <a:pt x="14299" y="3957"/>
                  </a:cubicBezTo>
                  <a:cubicBezTo>
                    <a:pt x="14330" y="4006"/>
                    <a:pt x="14378" y="4036"/>
                    <a:pt x="14420" y="4073"/>
                  </a:cubicBezTo>
                  <a:cubicBezTo>
                    <a:pt x="14431" y="4082"/>
                    <a:pt x="14442" y="4094"/>
                    <a:pt x="14458" y="4084"/>
                  </a:cubicBezTo>
                  <a:cubicBezTo>
                    <a:pt x="14471" y="4076"/>
                    <a:pt x="14466" y="4062"/>
                    <a:pt x="14465" y="4050"/>
                  </a:cubicBezTo>
                  <a:cubicBezTo>
                    <a:pt x="14458" y="3990"/>
                    <a:pt x="14466" y="3936"/>
                    <a:pt x="14507" y="3887"/>
                  </a:cubicBezTo>
                  <a:cubicBezTo>
                    <a:pt x="14525" y="3865"/>
                    <a:pt x="14537" y="3837"/>
                    <a:pt x="14546" y="3809"/>
                  </a:cubicBezTo>
                  <a:cubicBezTo>
                    <a:pt x="14549" y="3795"/>
                    <a:pt x="14556" y="3781"/>
                    <a:pt x="14563" y="3769"/>
                  </a:cubicBezTo>
                  <a:cubicBezTo>
                    <a:pt x="14575" y="3749"/>
                    <a:pt x="14590" y="3749"/>
                    <a:pt x="14600" y="3770"/>
                  </a:cubicBezTo>
                  <a:cubicBezTo>
                    <a:pt x="14628" y="3831"/>
                    <a:pt x="14653" y="3893"/>
                    <a:pt x="14663" y="3959"/>
                  </a:cubicBezTo>
                  <a:cubicBezTo>
                    <a:pt x="14672" y="4017"/>
                    <a:pt x="14660" y="4069"/>
                    <a:pt x="14611" y="4110"/>
                  </a:cubicBezTo>
                  <a:cubicBezTo>
                    <a:pt x="14576" y="4139"/>
                    <a:pt x="14580" y="4148"/>
                    <a:pt x="14603" y="4184"/>
                  </a:cubicBezTo>
                  <a:cubicBezTo>
                    <a:pt x="14645" y="4250"/>
                    <a:pt x="14699" y="4310"/>
                    <a:pt x="14719" y="4389"/>
                  </a:cubicBezTo>
                  <a:cubicBezTo>
                    <a:pt x="14719" y="4391"/>
                    <a:pt x="14721" y="4393"/>
                    <a:pt x="14722" y="4395"/>
                  </a:cubicBezTo>
                  <a:cubicBezTo>
                    <a:pt x="14728" y="4404"/>
                    <a:pt x="14735" y="4411"/>
                    <a:pt x="14747" y="4411"/>
                  </a:cubicBezTo>
                  <a:cubicBezTo>
                    <a:pt x="14759" y="4410"/>
                    <a:pt x="14765" y="4402"/>
                    <a:pt x="14768" y="4391"/>
                  </a:cubicBezTo>
                  <a:cubicBezTo>
                    <a:pt x="14770" y="4383"/>
                    <a:pt x="14769" y="4374"/>
                    <a:pt x="14772" y="4367"/>
                  </a:cubicBezTo>
                  <a:cubicBezTo>
                    <a:pt x="14792" y="4298"/>
                    <a:pt x="14833" y="4245"/>
                    <a:pt x="14890" y="4203"/>
                  </a:cubicBezTo>
                  <a:cubicBezTo>
                    <a:pt x="14922" y="4179"/>
                    <a:pt x="14935" y="4187"/>
                    <a:pt x="14940" y="4230"/>
                  </a:cubicBezTo>
                  <a:cubicBezTo>
                    <a:pt x="14945" y="4280"/>
                    <a:pt x="14940" y="4330"/>
                    <a:pt x="14938" y="4380"/>
                  </a:cubicBezTo>
                  <a:cubicBezTo>
                    <a:pt x="14936" y="4425"/>
                    <a:pt x="14914" y="4458"/>
                    <a:pt x="14879" y="4484"/>
                  </a:cubicBezTo>
                  <a:cubicBezTo>
                    <a:pt x="14867" y="4493"/>
                    <a:pt x="14855" y="4502"/>
                    <a:pt x="14843" y="4509"/>
                  </a:cubicBezTo>
                  <a:cubicBezTo>
                    <a:pt x="14814" y="4528"/>
                    <a:pt x="14802" y="4553"/>
                    <a:pt x="14802" y="4588"/>
                  </a:cubicBezTo>
                  <a:cubicBezTo>
                    <a:pt x="14803" y="4623"/>
                    <a:pt x="14803" y="4659"/>
                    <a:pt x="14796" y="4694"/>
                  </a:cubicBezTo>
                  <a:cubicBezTo>
                    <a:pt x="14792" y="4715"/>
                    <a:pt x="14776" y="4743"/>
                    <a:pt x="14803" y="4755"/>
                  </a:cubicBezTo>
                  <a:cubicBezTo>
                    <a:pt x="14829" y="4766"/>
                    <a:pt x="14823" y="4721"/>
                    <a:pt x="14850" y="4719"/>
                  </a:cubicBezTo>
                  <a:cubicBezTo>
                    <a:pt x="14879" y="4752"/>
                    <a:pt x="14898" y="4795"/>
                    <a:pt x="14909" y="4838"/>
                  </a:cubicBezTo>
                  <a:cubicBezTo>
                    <a:pt x="14921" y="4883"/>
                    <a:pt x="14928" y="4933"/>
                    <a:pt x="14902" y="4977"/>
                  </a:cubicBezTo>
                  <a:cubicBezTo>
                    <a:pt x="14886" y="5004"/>
                    <a:pt x="14874" y="5029"/>
                    <a:pt x="14892" y="5058"/>
                  </a:cubicBezTo>
                  <a:cubicBezTo>
                    <a:pt x="14908" y="5083"/>
                    <a:pt x="14925" y="5107"/>
                    <a:pt x="14949" y="5124"/>
                  </a:cubicBezTo>
                  <a:cubicBezTo>
                    <a:pt x="14964" y="5135"/>
                    <a:pt x="14981" y="5133"/>
                    <a:pt x="14996" y="5122"/>
                  </a:cubicBezTo>
                  <a:cubicBezTo>
                    <a:pt x="15015" y="5109"/>
                    <a:pt x="15025" y="5089"/>
                    <a:pt x="15033" y="5067"/>
                  </a:cubicBezTo>
                  <a:cubicBezTo>
                    <a:pt x="15068" y="4966"/>
                    <a:pt x="15062" y="4860"/>
                    <a:pt x="15061" y="4757"/>
                  </a:cubicBezTo>
                  <a:cubicBezTo>
                    <a:pt x="15059" y="4610"/>
                    <a:pt x="15051" y="4462"/>
                    <a:pt x="15071" y="4315"/>
                  </a:cubicBezTo>
                  <a:cubicBezTo>
                    <a:pt x="15088" y="4184"/>
                    <a:pt x="15102" y="4051"/>
                    <a:pt x="15125" y="3920"/>
                  </a:cubicBezTo>
                  <a:cubicBezTo>
                    <a:pt x="15134" y="3874"/>
                    <a:pt x="15126" y="3844"/>
                    <a:pt x="15093" y="3817"/>
                  </a:cubicBezTo>
                  <a:cubicBezTo>
                    <a:pt x="15050" y="3782"/>
                    <a:pt x="15017" y="3740"/>
                    <a:pt x="14997" y="3688"/>
                  </a:cubicBezTo>
                  <a:cubicBezTo>
                    <a:pt x="14980" y="3643"/>
                    <a:pt x="14935" y="3631"/>
                    <a:pt x="14898" y="3609"/>
                  </a:cubicBezTo>
                  <a:cubicBezTo>
                    <a:pt x="14891" y="3606"/>
                    <a:pt x="14881" y="3608"/>
                    <a:pt x="14875" y="3615"/>
                  </a:cubicBezTo>
                  <a:cubicBezTo>
                    <a:pt x="14869" y="3623"/>
                    <a:pt x="14873" y="3631"/>
                    <a:pt x="14877" y="3638"/>
                  </a:cubicBezTo>
                  <a:cubicBezTo>
                    <a:pt x="14883" y="3647"/>
                    <a:pt x="14888" y="3657"/>
                    <a:pt x="14895" y="3664"/>
                  </a:cubicBezTo>
                  <a:cubicBezTo>
                    <a:pt x="14918" y="3689"/>
                    <a:pt x="14918" y="3717"/>
                    <a:pt x="14916" y="3751"/>
                  </a:cubicBezTo>
                  <a:cubicBezTo>
                    <a:pt x="14909" y="3839"/>
                    <a:pt x="14834" y="3874"/>
                    <a:pt x="14790" y="3937"/>
                  </a:cubicBezTo>
                  <a:close/>
                  <a:moveTo>
                    <a:pt x="15819" y="7213"/>
                  </a:moveTo>
                  <a:cubicBezTo>
                    <a:pt x="15853" y="7207"/>
                    <a:pt x="15884" y="7223"/>
                    <a:pt x="15917" y="7227"/>
                  </a:cubicBezTo>
                  <a:cubicBezTo>
                    <a:pt x="15937" y="7229"/>
                    <a:pt x="15946" y="7243"/>
                    <a:pt x="15939" y="7262"/>
                  </a:cubicBezTo>
                  <a:cubicBezTo>
                    <a:pt x="15920" y="7317"/>
                    <a:pt x="15851" y="7360"/>
                    <a:pt x="15791" y="7356"/>
                  </a:cubicBezTo>
                  <a:cubicBezTo>
                    <a:pt x="15770" y="7354"/>
                    <a:pt x="15749" y="7350"/>
                    <a:pt x="15729" y="7345"/>
                  </a:cubicBezTo>
                  <a:cubicBezTo>
                    <a:pt x="15712" y="7341"/>
                    <a:pt x="15696" y="7340"/>
                    <a:pt x="15680" y="7346"/>
                  </a:cubicBezTo>
                  <a:cubicBezTo>
                    <a:pt x="15668" y="7350"/>
                    <a:pt x="15655" y="7354"/>
                    <a:pt x="15653" y="7368"/>
                  </a:cubicBezTo>
                  <a:cubicBezTo>
                    <a:pt x="15652" y="7386"/>
                    <a:pt x="15663" y="7397"/>
                    <a:pt x="15679" y="7398"/>
                  </a:cubicBezTo>
                  <a:cubicBezTo>
                    <a:pt x="15720" y="7401"/>
                    <a:pt x="15750" y="7430"/>
                    <a:pt x="15788" y="7441"/>
                  </a:cubicBezTo>
                  <a:cubicBezTo>
                    <a:pt x="15816" y="7449"/>
                    <a:pt x="15819" y="7470"/>
                    <a:pt x="15797" y="7487"/>
                  </a:cubicBezTo>
                  <a:cubicBezTo>
                    <a:pt x="15771" y="7507"/>
                    <a:pt x="15744" y="7524"/>
                    <a:pt x="15708" y="7527"/>
                  </a:cubicBezTo>
                  <a:cubicBezTo>
                    <a:pt x="15669" y="7531"/>
                    <a:pt x="15662" y="7549"/>
                    <a:pt x="15683" y="7582"/>
                  </a:cubicBezTo>
                  <a:cubicBezTo>
                    <a:pt x="15706" y="7617"/>
                    <a:pt x="15734" y="7648"/>
                    <a:pt x="15765" y="7676"/>
                  </a:cubicBezTo>
                  <a:cubicBezTo>
                    <a:pt x="15782" y="7691"/>
                    <a:pt x="15798" y="7693"/>
                    <a:pt x="15816" y="7681"/>
                  </a:cubicBezTo>
                  <a:cubicBezTo>
                    <a:pt x="15865" y="7650"/>
                    <a:pt x="15911" y="7618"/>
                    <a:pt x="15947" y="7568"/>
                  </a:cubicBezTo>
                  <a:cubicBezTo>
                    <a:pt x="16000" y="7494"/>
                    <a:pt x="16065" y="7430"/>
                    <a:pt x="16146" y="7384"/>
                  </a:cubicBezTo>
                  <a:cubicBezTo>
                    <a:pt x="16185" y="7362"/>
                    <a:pt x="16217" y="7333"/>
                    <a:pt x="16235" y="7291"/>
                  </a:cubicBezTo>
                  <a:cubicBezTo>
                    <a:pt x="16246" y="7265"/>
                    <a:pt x="16237" y="7246"/>
                    <a:pt x="16216" y="7232"/>
                  </a:cubicBezTo>
                  <a:cubicBezTo>
                    <a:pt x="16192" y="7215"/>
                    <a:pt x="16172" y="7224"/>
                    <a:pt x="16156" y="7244"/>
                  </a:cubicBezTo>
                  <a:cubicBezTo>
                    <a:pt x="16146" y="7257"/>
                    <a:pt x="16139" y="7273"/>
                    <a:pt x="16131" y="7287"/>
                  </a:cubicBezTo>
                  <a:cubicBezTo>
                    <a:pt x="16121" y="7302"/>
                    <a:pt x="16112" y="7320"/>
                    <a:pt x="16091" y="7325"/>
                  </a:cubicBezTo>
                  <a:cubicBezTo>
                    <a:pt x="16053" y="7335"/>
                    <a:pt x="16014" y="7343"/>
                    <a:pt x="15974" y="7339"/>
                  </a:cubicBezTo>
                  <a:cubicBezTo>
                    <a:pt x="15950" y="7338"/>
                    <a:pt x="15940" y="7323"/>
                    <a:pt x="15950" y="7301"/>
                  </a:cubicBezTo>
                  <a:cubicBezTo>
                    <a:pt x="15978" y="7240"/>
                    <a:pt x="16005" y="7177"/>
                    <a:pt x="16091" y="7186"/>
                  </a:cubicBezTo>
                  <a:cubicBezTo>
                    <a:pt x="16099" y="7187"/>
                    <a:pt x="16108" y="7184"/>
                    <a:pt x="16110" y="7174"/>
                  </a:cubicBezTo>
                  <a:cubicBezTo>
                    <a:pt x="16112" y="7162"/>
                    <a:pt x="16105" y="7155"/>
                    <a:pt x="16094" y="7151"/>
                  </a:cubicBezTo>
                  <a:cubicBezTo>
                    <a:pt x="16065" y="7140"/>
                    <a:pt x="16034" y="7138"/>
                    <a:pt x="16009" y="7154"/>
                  </a:cubicBezTo>
                  <a:cubicBezTo>
                    <a:pt x="15943" y="7198"/>
                    <a:pt x="15880" y="7161"/>
                    <a:pt x="15816" y="7155"/>
                  </a:cubicBezTo>
                  <a:cubicBezTo>
                    <a:pt x="15804" y="7154"/>
                    <a:pt x="15797" y="7145"/>
                    <a:pt x="15799" y="7133"/>
                  </a:cubicBezTo>
                  <a:cubicBezTo>
                    <a:pt x="15808" y="7091"/>
                    <a:pt x="15878" y="7047"/>
                    <a:pt x="15920" y="7056"/>
                  </a:cubicBezTo>
                  <a:cubicBezTo>
                    <a:pt x="15945" y="7061"/>
                    <a:pt x="15969" y="7067"/>
                    <a:pt x="15991" y="7079"/>
                  </a:cubicBezTo>
                  <a:cubicBezTo>
                    <a:pt x="16001" y="7085"/>
                    <a:pt x="16012" y="7085"/>
                    <a:pt x="16019" y="7075"/>
                  </a:cubicBezTo>
                  <a:cubicBezTo>
                    <a:pt x="16026" y="7065"/>
                    <a:pt x="16023" y="7054"/>
                    <a:pt x="16016" y="7046"/>
                  </a:cubicBezTo>
                  <a:cubicBezTo>
                    <a:pt x="15972" y="6990"/>
                    <a:pt x="15941" y="6963"/>
                    <a:pt x="15862" y="6997"/>
                  </a:cubicBezTo>
                  <a:cubicBezTo>
                    <a:pt x="15848" y="7002"/>
                    <a:pt x="15836" y="7010"/>
                    <a:pt x="15824" y="7018"/>
                  </a:cubicBezTo>
                  <a:cubicBezTo>
                    <a:pt x="15805" y="7032"/>
                    <a:pt x="15786" y="7033"/>
                    <a:pt x="15765" y="7024"/>
                  </a:cubicBezTo>
                  <a:cubicBezTo>
                    <a:pt x="15725" y="7006"/>
                    <a:pt x="15685" y="6989"/>
                    <a:pt x="15641" y="6982"/>
                  </a:cubicBezTo>
                  <a:cubicBezTo>
                    <a:pt x="15613" y="6978"/>
                    <a:pt x="15609" y="6959"/>
                    <a:pt x="15631" y="6939"/>
                  </a:cubicBezTo>
                  <a:cubicBezTo>
                    <a:pt x="15655" y="6916"/>
                    <a:pt x="15683" y="6897"/>
                    <a:pt x="15707" y="6875"/>
                  </a:cubicBezTo>
                  <a:cubicBezTo>
                    <a:pt x="15748" y="6838"/>
                    <a:pt x="15797" y="6832"/>
                    <a:pt x="15848" y="6841"/>
                  </a:cubicBezTo>
                  <a:cubicBezTo>
                    <a:pt x="15899" y="6851"/>
                    <a:pt x="15939" y="6881"/>
                    <a:pt x="15972" y="6920"/>
                  </a:cubicBezTo>
                  <a:cubicBezTo>
                    <a:pt x="15988" y="6939"/>
                    <a:pt x="16004" y="6958"/>
                    <a:pt x="16021" y="6977"/>
                  </a:cubicBezTo>
                  <a:cubicBezTo>
                    <a:pt x="16028" y="6984"/>
                    <a:pt x="16038" y="6991"/>
                    <a:pt x="16048" y="6983"/>
                  </a:cubicBezTo>
                  <a:cubicBezTo>
                    <a:pt x="16057" y="6975"/>
                    <a:pt x="16057" y="6964"/>
                    <a:pt x="16050" y="6955"/>
                  </a:cubicBezTo>
                  <a:cubicBezTo>
                    <a:pt x="16026" y="6921"/>
                    <a:pt x="16015" y="6884"/>
                    <a:pt x="16022" y="6843"/>
                  </a:cubicBezTo>
                  <a:cubicBezTo>
                    <a:pt x="16027" y="6816"/>
                    <a:pt x="16021" y="6777"/>
                    <a:pt x="16054" y="6769"/>
                  </a:cubicBezTo>
                  <a:cubicBezTo>
                    <a:pt x="16082" y="6762"/>
                    <a:pt x="16100" y="6792"/>
                    <a:pt x="16117" y="6813"/>
                  </a:cubicBezTo>
                  <a:cubicBezTo>
                    <a:pt x="16148" y="6850"/>
                    <a:pt x="16186" y="6873"/>
                    <a:pt x="16237" y="6865"/>
                  </a:cubicBezTo>
                  <a:cubicBezTo>
                    <a:pt x="16281" y="6859"/>
                    <a:pt x="16324" y="6859"/>
                    <a:pt x="16362" y="6888"/>
                  </a:cubicBezTo>
                  <a:cubicBezTo>
                    <a:pt x="16373" y="6897"/>
                    <a:pt x="16389" y="6898"/>
                    <a:pt x="16403" y="6901"/>
                  </a:cubicBezTo>
                  <a:cubicBezTo>
                    <a:pt x="16425" y="6906"/>
                    <a:pt x="16441" y="6897"/>
                    <a:pt x="16450" y="6878"/>
                  </a:cubicBezTo>
                  <a:cubicBezTo>
                    <a:pt x="16461" y="6854"/>
                    <a:pt x="16460" y="6829"/>
                    <a:pt x="16444" y="6807"/>
                  </a:cubicBezTo>
                  <a:cubicBezTo>
                    <a:pt x="16429" y="6787"/>
                    <a:pt x="16408" y="6778"/>
                    <a:pt x="16383" y="6785"/>
                  </a:cubicBezTo>
                  <a:cubicBezTo>
                    <a:pt x="16367" y="6790"/>
                    <a:pt x="16353" y="6799"/>
                    <a:pt x="16335" y="6794"/>
                  </a:cubicBezTo>
                  <a:cubicBezTo>
                    <a:pt x="16282" y="6780"/>
                    <a:pt x="16238" y="6748"/>
                    <a:pt x="16189" y="6725"/>
                  </a:cubicBezTo>
                  <a:cubicBezTo>
                    <a:pt x="16176" y="6719"/>
                    <a:pt x="16174" y="6706"/>
                    <a:pt x="16185" y="6695"/>
                  </a:cubicBezTo>
                  <a:cubicBezTo>
                    <a:pt x="16227" y="6651"/>
                    <a:pt x="16312" y="6641"/>
                    <a:pt x="16363" y="6674"/>
                  </a:cubicBezTo>
                  <a:cubicBezTo>
                    <a:pt x="16386" y="6688"/>
                    <a:pt x="16408" y="6704"/>
                    <a:pt x="16431" y="6717"/>
                  </a:cubicBezTo>
                  <a:cubicBezTo>
                    <a:pt x="16449" y="6726"/>
                    <a:pt x="16463" y="6717"/>
                    <a:pt x="16460" y="6699"/>
                  </a:cubicBezTo>
                  <a:cubicBezTo>
                    <a:pt x="16448" y="6644"/>
                    <a:pt x="16433" y="6587"/>
                    <a:pt x="16382" y="6555"/>
                  </a:cubicBezTo>
                  <a:cubicBezTo>
                    <a:pt x="16336" y="6526"/>
                    <a:pt x="16307" y="6493"/>
                    <a:pt x="16307" y="6435"/>
                  </a:cubicBezTo>
                  <a:cubicBezTo>
                    <a:pt x="16307" y="6406"/>
                    <a:pt x="16284" y="6394"/>
                    <a:pt x="16259" y="6410"/>
                  </a:cubicBezTo>
                  <a:cubicBezTo>
                    <a:pt x="16218" y="6438"/>
                    <a:pt x="16171" y="6455"/>
                    <a:pt x="16133" y="6489"/>
                  </a:cubicBezTo>
                  <a:cubicBezTo>
                    <a:pt x="16092" y="6526"/>
                    <a:pt x="16044" y="6551"/>
                    <a:pt x="15986" y="6549"/>
                  </a:cubicBezTo>
                  <a:cubicBezTo>
                    <a:pt x="15962" y="6548"/>
                    <a:pt x="15936" y="6550"/>
                    <a:pt x="15913" y="6559"/>
                  </a:cubicBezTo>
                  <a:cubicBezTo>
                    <a:pt x="15817" y="6599"/>
                    <a:pt x="15719" y="6634"/>
                    <a:pt x="15629" y="6686"/>
                  </a:cubicBezTo>
                  <a:cubicBezTo>
                    <a:pt x="15499" y="6761"/>
                    <a:pt x="15380" y="6852"/>
                    <a:pt x="15259" y="6940"/>
                  </a:cubicBezTo>
                  <a:cubicBezTo>
                    <a:pt x="15227" y="6964"/>
                    <a:pt x="15196" y="6988"/>
                    <a:pt x="15165" y="7013"/>
                  </a:cubicBezTo>
                  <a:cubicBezTo>
                    <a:pt x="15149" y="7027"/>
                    <a:pt x="15134" y="7045"/>
                    <a:pt x="15156" y="7065"/>
                  </a:cubicBezTo>
                  <a:cubicBezTo>
                    <a:pt x="15184" y="7090"/>
                    <a:pt x="15210" y="7117"/>
                    <a:pt x="15235" y="7145"/>
                  </a:cubicBezTo>
                  <a:cubicBezTo>
                    <a:pt x="15252" y="7164"/>
                    <a:pt x="15280" y="7154"/>
                    <a:pt x="15278" y="7129"/>
                  </a:cubicBezTo>
                  <a:cubicBezTo>
                    <a:pt x="15274" y="7068"/>
                    <a:pt x="15318" y="7025"/>
                    <a:pt x="15333" y="6972"/>
                  </a:cubicBezTo>
                  <a:cubicBezTo>
                    <a:pt x="15337" y="6961"/>
                    <a:pt x="15346" y="6951"/>
                    <a:pt x="15355" y="6943"/>
                  </a:cubicBezTo>
                  <a:cubicBezTo>
                    <a:pt x="15376" y="6923"/>
                    <a:pt x="15393" y="6927"/>
                    <a:pt x="15400" y="6955"/>
                  </a:cubicBezTo>
                  <a:cubicBezTo>
                    <a:pt x="15423" y="7038"/>
                    <a:pt x="15448" y="7121"/>
                    <a:pt x="15390" y="7201"/>
                  </a:cubicBezTo>
                  <a:cubicBezTo>
                    <a:pt x="15386" y="7206"/>
                    <a:pt x="15384" y="7212"/>
                    <a:pt x="15382" y="7218"/>
                  </a:cubicBezTo>
                  <a:cubicBezTo>
                    <a:pt x="15375" y="7234"/>
                    <a:pt x="15375" y="7251"/>
                    <a:pt x="15389" y="7263"/>
                  </a:cubicBezTo>
                  <a:cubicBezTo>
                    <a:pt x="15415" y="7285"/>
                    <a:pt x="15427" y="7318"/>
                    <a:pt x="15450" y="7343"/>
                  </a:cubicBezTo>
                  <a:cubicBezTo>
                    <a:pt x="15467" y="7361"/>
                    <a:pt x="15478" y="7396"/>
                    <a:pt x="15511" y="7386"/>
                  </a:cubicBezTo>
                  <a:cubicBezTo>
                    <a:pt x="15542" y="7377"/>
                    <a:pt x="15548" y="7343"/>
                    <a:pt x="15556" y="7315"/>
                  </a:cubicBezTo>
                  <a:cubicBezTo>
                    <a:pt x="15560" y="7300"/>
                    <a:pt x="15562" y="7280"/>
                    <a:pt x="15556" y="7266"/>
                  </a:cubicBezTo>
                  <a:cubicBezTo>
                    <a:pt x="15530" y="7206"/>
                    <a:pt x="15551" y="7152"/>
                    <a:pt x="15572" y="7098"/>
                  </a:cubicBezTo>
                  <a:cubicBezTo>
                    <a:pt x="15583" y="7070"/>
                    <a:pt x="15597" y="7066"/>
                    <a:pt x="15618" y="7083"/>
                  </a:cubicBezTo>
                  <a:cubicBezTo>
                    <a:pt x="15671" y="7128"/>
                    <a:pt x="15682" y="7177"/>
                    <a:pt x="15651" y="7241"/>
                  </a:cubicBezTo>
                  <a:cubicBezTo>
                    <a:pt x="15646" y="7252"/>
                    <a:pt x="15636" y="7265"/>
                    <a:pt x="15646" y="7276"/>
                  </a:cubicBezTo>
                  <a:cubicBezTo>
                    <a:pt x="15659" y="7289"/>
                    <a:pt x="15673" y="7276"/>
                    <a:pt x="15685" y="7269"/>
                  </a:cubicBezTo>
                  <a:cubicBezTo>
                    <a:pt x="15696" y="7263"/>
                    <a:pt x="15704" y="7254"/>
                    <a:pt x="15714" y="7246"/>
                  </a:cubicBezTo>
                  <a:cubicBezTo>
                    <a:pt x="15745" y="7223"/>
                    <a:pt x="15778" y="7207"/>
                    <a:pt x="15819" y="7213"/>
                  </a:cubicBezTo>
                  <a:close/>
                  <a:moveTo>
                    <a:pt x="16464" y="8058"/>
                  </a:moveTo>
                  <a:cubicBezTo>
                    <a:pt x="16404" y="8054"/>
                    <a:pt x="16349" y="8072"/>
                    <a:pt x="16292" y="8083"/>
                  </a:cubicBezTo>
                  <a:cubicBezTo>
                    <a:pt x="16249" y="8092"/>
                    <a:pt x="16231" y="8111"/>
                    <a:pt x="16218" y="8146"/>
                  </a:cubicBezTo>
                  <a:cubicBezTo>
                    <a:pt x="16193" y="8213"/>
                    <a:pt x="16207" y="8280"/>
                    <a:pt x="16232" y="8341"/>
                  </a:cubicBezTo>
                  <a:cubicBezTo>
                    <a:pt x="16273" y="8440"/>
                    <a:pt x="16309" y="8538"/>
                    <a:pt x="16318" y="8645"/>
                  </a:cubicBezTo>
                  <a:cubicBezTo>
                    <a:pt x="16320" y="8671"/>
                    <a:pt x="16333" y="8688"/>
                    <a:pt x="16356" y="8697"/>
                  </a:cubicBezTo>
                  <a:cubicBezTo>
                    <a:pt x="16373" y="8705"/>
                    <a:pt x="16391" y="8712"/>
                    <a:pt x="16408" y="8718"/>
                  </a:cubicBezTo>
                  <a:cubicBezTo>
                    <a:pt x="16447" y="8733"/>
                    <a:pt x="16463" y="8724"/>
                    <a:pt x="16458" y="8686"/>
                  </a:cubicBezTo>
                  <a:cubicBezTo>
                    <a:pt x="16449" y="8612"/>
                    <a:pt x="16481" y="8551"/>
                    <a:pt x="16507" y="8488"/>
                  </a:cubicBezTo>
                  <a:cubicBezTo>
                    <a:pt x="16523" y="8451"/>
                    <a:pt x="16538" y="8449"/>
                    <a:pt x="16564" y="8482"/>
                  </a:cubicBezTo>
                  <a:cubicBezTo>
                    <a:pt x="16604" y="8530"/>
                    <a:pt x="16619" y="8588"/>
                    <a:pt x="16630" y="8648"/>
                  </a:cubicBezTo>
                  <a:cubicBezTo>
                    <a:pt x="16638" y="8691"/>
                    <a:pt x="16640" y="8730"/>
                    <a:pt x="16598" y="8758"/>
                  </a:cubicBezTo>
                  <a:cubicBezTo>
                    <a:pt x="16580" y="8770"/>
                    <a:pt x="16579" y="8788"/>
                    <a:pt x="16591" y="8808"/>
                  </a:cubicBezTo>
                  <a:cubicBezTo>
                    <a:pt x="16640" y="8887"/>
                    <a:pt x="16688" y="8967"/>
                    <a:pt x="16722" y="9054"/>
                  </a:cubicBezTo>
                  <a:cubicBezTo>
                    <a:pt x="16735" y="9088"/>
                    <a:pt x="16750" y="9088"/>
                    <a:pt x="16775" y="9060"/>
                  </a:cubicBezTo>
                  <a:cubicBezTo>
                    <a:pt x="16818" y="9010"/>
                    <a:pt x="16858" y="8957"/>
                    <a:pt x="16911" y="8916"/>
                  </a:cubicBezTo>
                  <a:cubicBezTo>
                    <a:pt x="17007" y="8840"/>
                    <a:pt x="17069" y="8740"/>
                    <a:pt x="17102" y="8623"/>
                  </a:cubicBezTo>
                  <a:cubicBezTo>
                    <a:pt x="17129" y="8531"/>
                    <a:pt x="17129" y="8438"/>
                    <a:pt x="17095" y="8347"/>
                  </a:cubicBezTo>
                  <a:cubicBezTo>
                    <a:pt x="17089" y="8329"/>
                    <a:pt x="17084" y="8310"/>
                    <a:pt x="17060" y="8309"/>
                  </a:cubicBezTo>
                  <a:cubicBezTo>
                    <a:pt x="17041" y="8308"/>
                    <a:pt x="17032" y="8323"/>
                    <a:pt x="17024" y="8338"/>
                  </a:cubicBezTo>
                  <a:cubicBezTo>
                    <a:pt x="17007" y="8371"/>
                    <a:pt x="16982" y="8399"/>
                    <a:pt x="16946" y="8405"/>
                  </a:cubicBezTo>
                  <a:cubicBezTo>
                    <a:pt x="16884" y="8416"/>
                    <a:pt x="16821" y="8412"/>
                    <a:pt x="16760" y="8401"/>
                  </a:cubicBezTo>
                  <a:cubicBezTo>
                    <a:pt x="16730" y="8396"/>
                    <a:pt x="16725" y="8374"/>
                    <a:pt x="16746" y="8351"/>
                  </a:cubicBezTo>
                  <a:cubicBezTo>
                    <a:pt x="16776" y="8317"/>
                    <a:pt x="16810" y="8286"/>
                    <a:pt x="16845" y="8256"/>
                  </a:cubicBezTo>
                  <a:cubicBezTo>
                    <a:pt x="16877" y="8229"/>
                    <a:pt x="16910" y="8213"/>
                    <a:pt x="16953" y="8233"/>
                  </a:cubicBezTo>
                  <a:cubicBezTo>
                    <a:pt x="16960" y="8236"/>
                    <a:pt x="16969" y="8237"/>
                    <a:pt x="16977" y="8237"/>
                  </a:cubicBezTo>
                  <a:cubicBezTo>
                    <a:pt x="16996" y="8238"/>
                    <a:pt x="17005" y="8225"/>
                    <a:pt x="16995" y="8209"/>
                  </a:cubicBezTo>
                  <a:cubicBezTo>
                    <a:pt x="16970" y="8172"/>
                    <a:pt x="16932" y="8149"/>
                    <a:pt x="16894" y="8127"/>
                  </a:cubicBezTo>
                  <a:cubicBezTo>
                    <a:pt x="16869" y="8112"/>
                    <a:pt x="16842" y="8103"/>
                    <a:pt x="16811" y="8116"/>
                  </a:cubicBezTo>
                  <a:cubicBezTo>
                    <a:pt x="16795" y="8123"/>
                    <a:pt x="16778" y="8117"/>
                    <a:pt x="16762" y="8112"/>
                  </a:cubicBezTo>
                  <a:cubicBezTo>
                    <a:pt x="16715" y="8098"/>
                    <a:pt x="16664" y="8095"/>
                    <a:pt x="16622" y="8063"/>
                  </a:cubicBezTo>
                  <a:cubicBezTo>
                    <a:pt x="16611" y="8055"/>
                    <a:pt x="16593" y="8049"/>
                    <a:pt x="16581" y="8052"/>
                  </a:cubicBezTo>
                  <a:cubicBezTo>
                    <a:pt x="16542" y="8061"/>
                    <a:pt x="16502" y="8055"/>
                    <a:pt x="16464" y="8058"/>
                  </a:cubicBezTo>
                  <a:close/>
                  <a:moveTo>
                    <a:pt x="13332" y="9263"/>
                  </a:moveTo>
                  <a:cubicBezTo>
                    <a:pt x="13324" y="9182"/>
                    <a:pt x="13315" y="9089"/>
                    <a:pt x="13306" y="8996"/>
                  </a:cubicBezTo>
                  <a:cubicBezTo>
                    <a:pt x="13305" y="8990"/>
                    <a:pt x="13302" y="8984"/>
                    <a:pt x="13299" y="8979"/>
                  </a:cubicBezTo>
                  <a:cubicBezTo>
                    <a:pt x="13264" y="8883"/>
                    <a:pt x="13229" y="8787"/>
                    <a:pt x="13218" y="8685"/>
                  </a:cubicBezTo>
                  <a:cubicBezTo>
                    <a:pt x="13216" y="8664"/>
                    <a:pt x="13209" y="8645"/>
                    <a:pt x="13201" y="8626"/>
                  </a:cubicBezTo>
                  <a:cubicBezTo>
                    <a:pt x="13172" y="8561"/>
                    <a:pt x="13144" y="8497"/>
                    <a:pt x="13116" y="8432"/>
                  </a:cubicBezTo>
                  <a:cubicBezTo>
                    <a:pt x="13109" y="8416"/>
                    <a:pt x="13103" y="8400"/>
                    <a:pt x="13083" y="8400"/>
                  </a:cubicBezTo>
                  <a:cubicBezTo>
                    <a:pt x="13062" y="8399"/>
                    <a:pt x="13055" y="8417"/>
                    <a:pt x="13051" y="8433"/>
                  </a:cubicBezTo>
                  <a:cubicBezTo>
                    <a:pt x="13027" y="8530"/>
                    <a:pt x="12985" y="8622"/>
                    <a:pt x="12970" y="8721"/>
                  </a:cubicBezTo>
                  <a:cubicBezTo>
                    <a:pt x="12965" y="8755"/>
                    <a:pt x="12954" y="8785"/>
                    <a:pt x="12931" y="8811"/>
                  </a:cubicBezTo>
                  <a:cubicBezTo>
                    <a:pt x="12903" y="8842"/>
                    <a:pt x="12884" y="8879"/>
                    <a:pt x="12872" y="8920"/>
                  </a:cubicBezTo>
                  <a:cubicBezTo>
                    <a:pt x="12862" y="8951"/>
                    <a:pt x="12852" y="8983"/>
                    <a:pt x="12843" y="9015"/>
                  </a:cubicBezTo>
                  <a:cubicBezTo>
                    <a:pt x="12817" y="9106"/>
                    <a:pt x="12806" y="9199"/>
                    <a:pt x="12793" y="9291"/>
                  </a:cubicBezTo>
                  <a:cubicBezTo>
                    <a:pt x="12791" y="9301"/>
                    <a:pt x="12791" y="9313"/>
                    <a:pt x="12795" y="9322"/>
                  </a:cubicBezTo>
                  <a:cubicBezTo>
                    <a:pt x="12813" y="9363"/>
                    <a:pt x="12811" y="9407"/>
                    <a:pt x="12821" y="9450"/>
                  </a:cubicBezTo>
                  <a:cubicBezTo>
                    <a:pt x="12835" y="9508"/>
                    <a:pt x="12844" y="9569"/>
                    <a:pt x="12886" y="9616"/>
                  </a:cubicBezTo>
                  <a:cubicBezTo>
                    <a:pt x="12947" y="9685"/>
                    <a:pt x="13020" y="9741"/>
                    <a:pt x="13095" y="9793"/>
                  </a:cubicBezTo>
                  <a:cubicBezTo>
                    <a:pt x="13160" y="9839"/>
                    <a:pt x="13268" y="9809"/>
                    <a:pt x="13304" y="9739"/>
                  </a:cubicBezTo>
                  <a:cubicBezTo>
                    <a:pt x="13322" y="9706"/>
                    <a:pt x="13329" y="9667"/>
                    <a:pt x="13326" y="9630"/>
                  </a:cubicBezTo>
                  <a:cubicBezTo>
                    <a:pt x="13314" y="9512"/>
                    <a:pt x="13313" y="9394"/>
                    <a:pt x="13332" y="9263"/>
                  </a:cubicBezTo>
                  <a:close/>
                  <a:moveTo>
                    <a:pt x="16210" y="7842"/>
                  </a:moveTo>
                  <a:cubicBezTo>
                    <a:pt x="16209" y="7851"/>
                    <a:pt x="16207" y="7857"/>
                    <a:pt x="16207" y="7863"/>
                  </a:cubicBezTo>
                  <a:cubicBezTo>
                    <a:pt x="16210" y="7917"/>
                    <a:pt x="16198" y="7952"/>
                    <a:pt x="16174" y="7953"/>
                  </a:cubicBezTo>
                  <a:cubicBezTo>
                    <a:pt x="16151" y="7955"/>
                    <a:pt x="16124" y="7917"/>
                    <a:pt x="16117" y="7873"/>
                  </a:cubicBezTo>
                  <a:cubicBezTo>
                    <a:pt x="16114" y="7853"/>
                    <a:pt x="16113" y="7831"/>
                    <a:pt x="16108" y="7811"/>
                  </a:cubicBezTo>
                  <a:cubicBezTo>
                    <a:pt x="16098" y="7775"/>
                    <a:pt x="16052" y="7736"/>
                    <a:pt x="16018" y="7733"/>
                  </a:cubicBezTo>
                  <a:cubicBezTo>
                    <a:pt x="15987" y="7731"/>
                    <a:pt x="15943" y="7759"/>
                    <a:pt x="15928" y="7791"/>
                  </a:cubicBezTo>
                  <a:cubicBezTo>
                    <a:pt x="15921" y="7805"/>
                    <a:pt x="15918" y="7818"/>
                    <a:pt x="15928" y="7832"/>
                  </a:cubicBezTo>
                  <a:cubicBezTo>
                    <a:pt x="15972" y="7892"/>
                    <a:pt x="16013" y="7955"/>
                    <a:pt x="16061" y="8013"/>
                  </a:cubicBezTo>
                  <a:cubicBezTo>
                    <a:pt x="16095" y="8053"/>
                    <a:pt x="16154" y="8078"/>
                    <a:pt x="16203" y="8034"/>
                  </a:cubicBezTo>
                  <a:cubicBezTo>
                    <a:pt x="16229" y="8012"/>
                    <a:pt x="16263" y="8006"/>
                    <a:pt x="16291" y="7987"/>
                  </a:cubicBezTo>
                  <a:cubicBezTo>
                    <a:pt x="16334" y="7957"/>
                    <a:pt x="16383" y="7950"/>
                    <a:pt x="16433" y="7954"/>
                  </a:cubicBezTo>
                  <a:cubicBezTo>
                    <a:pt x="16472" y="7957"/>
                    <a:pt x="16506" y="7952"/>
                    <a:pt x="16540" y="7930"/>
                  </a:cubicBezTo>
                  <a:cubicBezTo>
                    <a:pt x="16583" y="7903"/>
                    <a:pt x="16629" y="7884"/>
                    <a:pt x="16679" y="7920"/>
                  </a:cubicBezTo>
                  <a:cubicBezTo>
                    <a:pt x="16694" y="7931"/>
                    <a:pt x="16716" y="7931"/>
                    <a:pt x="16731" y="7916"/>
                  </a:cubicBezTo>
                  <a:cubicBezTo>
                    <a:pt x="16749" y="7899"/>
                    <a:pt x="16735" y="7881"/>
                    <a:pt x="16727" y="7865"/>
                  </a:cubicBezTo>
                  <a:cubicBezTo>
                    <a:pt x="16709" y="7828"/>
                    <a:pt x="16680" y="7802"/>
                    <a:pt x="16647" y="7780"/>
                  </a:cubicBezTo>
                  <a:cubicBezTo>
                    <a:pt x="16566" y="7728"/>
                    <a:pt x="16543" y="7650"/>
                    <a:pt x="16542" y="7560"/>
                  </a:cubicBezTo>
                  <a:cubicBezTo>
                    <a:pt x="16542" y="7530"/>
                    <a:pt x="16553" y="7519"/>
                    <a:pt x="16579" y="7527"/>
                  </a:cubicBezTo>
                  <a:cubicBezTo>
                    <a:pt x="16653" y="7553"/>
                    <a:pt x="16723" y="7585"/>
                    <a:pt x="16740" y="7674"/>
                  </a:cubicBezTo>
                  <a:cubicBezTo>
                    <a:pt x="16743" y="7688"/>
                    <a:pt x="16744" y="7702"/>
                    <a:pt x="16745" y="7717"/>
                  </a:cubicBezTo>
                  <a:cubicBezTo>
                    <a:pt x="16745" y="7734"/>
                    <a:pt x="16746" y="7751"/>
                    <a:pt x="16755" y="7765"/>
                  </a:cubicBezTo>
                  <a:cubicBezTo>
                    <a:pt x="16763" y="7778"/>
                    <a:pt x="16766" y="7800"/>
                    <a:pt x="16787" y="7798"/>
                  </a:cubicBezTo>
                  <a:cubicBezTo>
                    <a:pt x="16805" y="7796"/>
                    <a:pt x="16806" y="7778"/>
                    <a:pt x="16812" y="7765"/>
                  </a:cubicBezTo>
                  <a:cubicBezTo>
                    <a:pt x="16825" y="7730"/>
                    <a:pt x="16834" y="7693"/>
                    <a:pt x="16862" y="7665"/>
                  </a:cubicBezTo>
                  <a:cubicBezTo>
                    <a:pt x="16876" y="7651"/>
                    <a:pt x="16886" y="7626"/>
                    <a:pt x="16910" y="7632"/>
                  </a:cubicBezTo>
                  <a:cubicBezTo>
                    <a:pt x="16936" y="7639"/>
                    <a:pt x="16927" y="7666"/>
                    <a:pt x="16931" y="7685"/>
                  </a:cubicBezTo>
                  <a:cubicBezTo>
                    <a:pt x="16935" y="7707"/>
                    <a:pt x="16927" y="7740"/>
                    <a:pt x="16955" y="7743"/>
                  </a:cubicBezTo>
                  <a:cubicBezTo>
                    <a:pt x="16983" y="7746"/>
                    <a:pt x="16989" y="7712"/>
                    <a:pt x="17000" y="7691"/>
                  </a:cubicBezTo>
                  <a:cubicBezTo>
                    <a:pt x="17002" y="7687"/>
                    <a:pt x="17002" y="7683"/>
                    <a:pt x="17004" y="7679"/>
                  </a:cubicBezTo>
                  <a:cubicBezTo>
                    <a:pt x="17028" y="7623"/>
                    <a:pt x="17020" y="7564"/>
                    <a:pt x="17020" y="7506"/>
                  </a:cubicBezTo>
                  <a:cubicBezTo>
                    <a:pt x="17020" y="7457"/>
                    <a:pt x="17004" y="7448"/>
                    <a:pt x="16953" y="7459"/>
                  </a:cubicBezTo>
                  <a:cubicBezTo>
                    <a:pt x="16939" y="7462"/>
                    <a:pt x="16925" y="7465"/>
                    <a:pt x="16911" y="7468"/>
                  </a:cubicBezTo>
                  <a:cubicBezTo>
                    <a:pt x="16887" y="7473"/>
                    <a:pt x="16865" y="7468"/>
                    <a:pt x="16846" y="7452"/>
                  </a:cubicBezTo>
                  <a:cubicBezTo>
                    <a:pt x="16815" y="7425"/>
                    <a:pt x="16789" y="7392"/>
                    <a:pt x="16764" y="7359"/>
                  </a:cubicBezTo>
                  <a:cubicBezTo>
                    <a:pt x="16752" y="7342"/>
                    <a:pt x="16759" y="7327"/>
                    <a:pt x="16779" y="7331"/>
                  </a:cubicBezTo>
                  <a:cubicBezTo>
                    <a:pt x="16845" y="7345"/>
                    <a:pt x="16911" y="7315"/>
                    <a:pt x="16977" y="7336"/>
                  </a:cubicBezTo>
                  <a:cubicBezTo>
                    <a:pt x="16998" y="7342"/>
                    <a:pt x="17007" y="7326"/>
                    <a:pt x="17005" y="7306"/>
                  </a:cubicBezTo>
                  <a:cubicBezTo>
                    <a:pt x="17004" y="7294"/>
                    <a:pt x="17000" y="7282"/>
                    <a:pt x="16995" y="7270"/>
                  </a:cubicBezTo>
                  <a:cubicBezTo>
                    <a:pt x="16981" y="7234"/>
                    <a:pt x="16960" y="7227"/>
                    <a:pt x="16927" y="7245"/>
                  </a:cubicBezTo>
                  <a:cubicBezTo>
                    <a:pt x="16918" y="7250"/>
                    <a:pt x="16910" y="7256"/>
                    <a:pt x="16902" y="7262"/>
                  </a:cubicBezTo>
                  <a:cubicBezTo>
                    <a:pt x="16866" y="7291"/>
                    <a:pt x="16826" y="7294"/>
                    <a:pt x="16783" y="7283"/>
                  </a:cubicBezTo>
                  <a:cubicBezTo>
                    <a:pt x="16769" y="7280"/>
                    <a:pt x="16752" y="7281"/>
                    <a:pt x="16748" y="7264"/>
                  </a:cubicBezTo>
                  <a:cubicBezTo>
                    <a:pt x="16743" y="7245"/>
                    <a:pt x="16761" y="7241"/>
                    <a:pt x="16772" y="7233"/>
                  </a:cubicBezTo>
                  <a:cubicBezTo>
                    <a:pt x="16819" y="7196"/>
                    <a:pt x="16866" y="7158"/>
                    <a:pt x="16913" y="7120"/>
                  </a:cubicBezTo>
                  <a:cubicBezTo>
                    <a:pt x="16928" y="7107"/>
                    <a:pt x="16941" y="7091"/>
                    <a:pt x="16926" y="7072"/>
                  </a:cubicBezTo>
                  <a:cubicBezTo>
                    <a:pt x="16913" y="7055"/>
                    <a:pt x="16891" y="7056"/>
                    <a:pt x="16875" y="7067"/>
                  </a:cubicBezTo>
                  <a:cubicBezTo>
                    <a:pt x="16850" y="7085"/>
                    <a:pt x="16825" y="7102"/>
                    <a:pt x="16802" y="7125"/>
                  </a:cubicBezTo>
                  <a:cubicBezTo>
                    <a:pt x="16759" y="7170"/>
                    <a:pt x="16711" y="7210"/>
                    <a:pt x="16656" y="7239"/>
                  </a:cubicBezTo>
                  <a:cubicBezTo>
                    <a:pt x="16614" y="7262"/>
                    <a:pt x="16575" y="7290"/>
                    <a:pt x="16535" y="7315"/>
                  </a:cubicBezTo>
                  <a:cubicBezTo>
                    <a:pt x="16438" y="7375"/>
                    <a:pt x="16348" y="7446"/>
                    <a:pt x="16245" y="7497"/>
                  </a:cubicBezTo>
                  <a:cubicBezTo>
                    <a:pt x="16187" y="7526"/>
                    <a:pt x="16138" y="7568"/>
                    <a:pt x="16101" y="7623"/>
                  </a:cubicBezTo>
                  <a:cubicBezTo>
                    <a:pt x="16078" y="7656"/>
                    <a:pt x="16079" y="7658"/>
                    <a:pt x="16118" y="7674"/>
                  </a:cubicBezTo>
                  <a:cubicBezTo>
                    <a:pt x="16145" y="7686"/>
                    <a:pt x="16173" y="7688"/>
                    <a:pt x="16203" y="7686"/>
                  </a:cubicBezTo>
                  <a:cubicBezTo>
                    <a:pt x="16272" y="7682"/>
                    <a:pt x="16301" y="7701"/>
                    <a:pt x="16330" y="7763"/>
                  </a:cubicBezTo>
                  <a:cubicBezTo>
                    <a:pt x="16339" y="7784"/>
                    <a:pt x="16347" y="7805"/>
                    <a:pt x="16356" y="7826"/>
                  </a:cubicBezTo>
                  <a:cubicBezTo>
                    <a:pt x="16372" y="7861"/>
                    <a:pt x="16366" y="7870"/>
                    <a:pt x="16326" y="7864"/>
                  </a:cubicBezTo>
                  <a:cubicBezTo>
                    <a:pt x="16288" y="7859"/>
                    <a:pt x="16250" y="7850"/>
                    <a:pt x="16210" y="7842"/>
                  </a:cubicBezTo>
                  <a:close/>
                  <a:moveTo>
                    <a:pt x="15280" y="7476"/>
                  </a:moveTo>
                  <a:cubicBezTo>
                    <a:pt x="15282" y="7453"/>
                    <a:pt x="15283" y="7430"/>
                    <a:pt x="15286" y="7407"/>
                  </a:cubicBezTo>
                  <a:cubicBezTo>
                    <a:pt x="15289" y="7386"/>
                    <a:pt x="15303" y="7379"/>
                    <a:pt x="15322" y="7390"/>
                  </a:cubicBezTo>
                  <a:cubicBezTo>
                    <a:pt x="15347" y="7405"/>
                    <a:pt x="15370" y="7424"/>
                    <a:pt x="15377" y="7455"/>
                  </a:cubicBezTo>
                  <a:cubicBezTo>
                    <a:pt x="15383" y="7477"/>
                    <a:pt x="15389" y="7499"/>
                    <a:pt x="15395" y="7521"/>
                  </a:cubicBezTo>
                  <a:cubicBezTo>
                    <a:pt x="15398" y="7532"/>
                    <a:pt x="15401" y="7543"/>
                    <a:pt x="15412" y="7545"/>
                  </a:cubicBezTo>
                  <a:cubicBezTo>
                    <a:pt x="15426" y="7548"/>
                    <a:pt x="15435" y="7538"/>
                    <a:pt x="15443" y="7528"/>
                  </a:cubicBezTo>
                  <a:cubicBezTo>
                    <a:pt x="15455" y="7511"/>
                    <a:pt x="15457" y="7494"/>
                    <a:pt x="15447" y="7475"/>
                  </a:cubicBezTo>
                  <a:cubicBezTo>
                    <a:pt x="15429" y="7437"/>
                    <a:pt x="15404" y="7405"/>
                    <a:pt x="15377" y="7373"/>
                  </a:cubicBezTo>
                  <a:cubicBezTo>
                    <a:pt x="15315" y="7299"/>
                    <a:pt x="15257" y="7271"/>
                    <a:pt x="15127" y="7317"/>
                  </a:cubicBezTo>
                  <a:cubicBezTo>
                    <a:pt x="15084" y="7332"/>
                    <a:pt x="15043" y="7356"/>
                    <a:pt x="14995" y="7350"/>
                  </a:cubicBezTo>
                  <a:cubicBezTo>
                    <a:pt x="14977" y="7348"/>
                    <a:pt x="14955" y="7355"/>
                    <a:pt x="14944" y="7335"/>
                  </a:cubicBezTo>
                  <a:cubicBezTo>
                    <a:pt x="14931" y="7310"/>
                    <a:pt x="14953" y="7298"/>
                    <a:pt x="14966" y="7282"/>
                  </a:cubicBezTo>
                  <a:cubicBezTo>
                    <a:pt x="14976" y="7269"/>
                    <a:pt x="14986" y="7255"/>
                    <a:pt x="14998" y="7244"/>
                  </a:cubicBezTo>
                  <a:cubicBezTo>
                    <a:pt x="15038" y="7205"/>
                    <a:pt x="15081" y="7171"/>
                    <a:pt x="15141" y="7208"/>
                  </a:cubicBezTo>
                  <a:cubicBezTo>
                    <a:pt x="15142" y="7209"/>
                    <a:pt x="15145" y="7209"/>
                    <a:pt x="15147" y="7210"/>
                  </a:cubicBezTo>
                  <a:cubicBezTo>
                    <a:pt x="15157" y="7212"/>
                    <a:pt x="15168" y="7212"/>
                    <a:pt x="15173" y="7200"/>
                  </a:cubicBezTo>
                  <a:cubicBezTo>
                    <a:pt x="15176" y="7191"/>
                    <a:pt x="15170" y="7184"/>
                    <a:pt x="15164" y="7178"/>
                  </a:cubicBezTo>
                  <a:cubicBezTo>
                    <a:pt x="15131" y="7143"/>
                    <a:pt x="15086" y="7135"/>
                    <a:pt x="15041" y="7125"/>
                  </a:cubicBezTo>
                  <a:cubicBezTo>
                    <a:pt x="15019" y="7120"/>
                    <a:pt x="15001" y="7125"/>
                    <a:pt x="14982" y="7137"/>
                  </a:cubicBezTo>
                  <a:cubicBezTo>
                    <a:pt x="14949" y="7157"/>
                    <a:pt x="14926" y="7186"/>
                    <a:pt x="14904" y="7216"/>
                  </a:cubicBezTo>
                  <a:cubicBezTo>
                    <a:pt x="14845" y="7297"/>
                    <a:pt x="14763" y="7367"/>
                    <a:pt x="14762" y="7479"/>
                  </a:cubicBezTo>
                  <a:cubicBezTo>
                    <a:pt x="14762" y="7481"/>
                    <a:pt x="14761" y="7483"/>
                    <a:pt x="14760" y="7485"/>
                  </a:cubicBezTo>
                  <a:cubicBezTo>
                    <a:pt x="14729" y="7544"/>
                    <a:pt x="14727" y="7608"/>
                    <a:pt x="14729" y="7673"/>
                  </a:cubicBezTo>
                  <a:cubicBezTo>
                    <a:pt x="14731" y="7727"/>
                    <a:pt x="14724" y="7782"/>
                    <a:pt x="14702" y="7832"/>
                  </a:cubicBezTo>
                  <a:cubicBezTo>
                    <a:pt x="14686" y="7867"/>
                    <a:pt x="14679" y="7903"/>
                    <a:pt x="14679" y="7940"/>
                  </a:cubicBezTo>
                  <a:cubicBezTo>
                    <a:pt x="14679" y="7978"/>
                    <a:pt x="14676" y="8015"/>
                    <a:pt x="14669" y="8052"/>
                  </a:cubicBezTo>
                  <a:cubicBezTo>
                    <a:pt x="14661" y="8090"/>
                    <a:pt x="14663" y="8127"/>
                    <a:pt x="14677" y="8163"/>
                  </a:cubicBezTo>
                  <a:cubicBezTo>
                    <a:pt x="14693" y="8204"/>
                    <a:pt x="14702" y="8212"/>
                    <a:pt x="14747" y="8207"/>
                  </a:cubicBezTo>
                  <a:cubicBezTo>
                    <a:pt x="14801" y="8201"/>
                    <a:pt x="14855" y="8195"/>
                    <a:pt x="14907" y="8183"/>
                  </a:cubicBezTo>
                  <a:cubicBezTo>
                    <a:pt x="15023" y="8155"/>
                    <a:pt x="15100" y="8082"/>
                    <a:pt x="15135" y="7967"/>
                  </a:cubicBezTo>
                  <a:cubicBezTo>
                    <a:pt x="15140" y="7951"/>
                    <a:pt x="15143" y="7935"/>
                    <a:pt x="15141" y="7918"/>
                  </a:cubicBezTo>
                  <a:cubicBezTo>
                    <a:pt x="15132" y="7866"/>
                    <a:pt x="15088" y="7845"/>
                    <a:pt x="15043" y="7874"/>
                  </a:cubicBezTo>
                  <a:cubicBezTo>
                    <a:pt x="15028" y="7884"/>
                    <a:pt x="15015" y="7898"/>
                    <a:pt x="15001" y="7910"/>
                  </a:cubicBezTo>
                  <a:cubicBezTo>
                    <a:pt x="14963" y="7939"/>
                    <a:pt x="14873" y="7939"/>
                    <a:pt x="14835" y="7911"/>
                  </a:cubicBezTo>
                  <a:cubicBezTo>
                    <a:pt x="14816" y="7896"/>
                    <a:pt x="14809" y="7879"/>
                    <a:pt x="14826" y="7858"/>
                  </a:cubicBezTo>
                  <a:cubicBezTo>
                    <a:pt x="14863" y="7813"/>
                    <a:pt x="14901" y="7771"/>
                    <a:pt x="14968" y="7800"/>
                  </a:cubicBezTo>
                  <a:cubicBezTo>
                    <a:pt x="14976" y="7803"/>
                    <a:pt x="14985" y="7803"/>
                    <a:pt x="14993" y="7805"/>
                  </a:cubicBezTo>
                  <a:cubicBezTo>
                    <a:pt x="15001" y="7807"/>
                    <a:pt x="15010" y="7808"/>
                    <a:pt x="15015" y="7801"/>
                  </a:cubicBezTo>
                  <a:cubicBezTo>
                    <a:pt x="15022" y="7791"/>
                    <a:pt x="15020" y="7780"/>
                    <a:pt x="15014" y="7771"/>
                  </a:cubicBezTo>
                  <a:cubicBezTo>
                    <a:pt x="14989" y="7741"/>
                    <a:pt x="14965" y="7708"/>
                    <a:pt x="14925" y="7696"/>
                  </a:cubicBezTo>
                  <a:cubicBezTo>
                    <a:pt x="14894" y="7687"/>
                    <a:pt x="14871" y="7668"/>
                    <a:pt x="14865" y="7639"/>
                  </a:cubicBezTo>
                  <a:cubicBezTo>
                    <a:pt x="14854" y="7592"/>
                    <a:pt x="14849" y="7545"/>
                    <a:pt x="14845" y="7497"/>
                  </a:cubicBezTo>
                  <a:cubicBezTo>
                    <a:pt x="14843" y="7468"/>
                    <a:pt x="14862" y="7457"/>
                    <a:pt x="14891" y="7464"/>
                  </a:cubicBezTo>
                  <a:cubicBezTo>
                    <a:pt x="14952" y="7478"/>
                    <a:pt x="15006" y="7547"/>
                    <a:pt x="15006" y="7609"/>
                  </a:cubicBezTo>
                  <a:cubicBezTo>
                    <a:pt x="15006" y="7632"/>
                    <a:pt x="15005" y="7655"/>
                    <a:pt x="15018" y="7675"/>
                  </a:cubicBezTo>
                  <a:cubicBezTo>
                    <a:pt x="15024" y="7684"/>
                    <a:pt x="15030" y="7693"/>
                    <a:pt x="15042" y="7693"/>
                  </a:cubicBezTo>
                  <a:cubicBezTo>
                    <a:pt x="15057" y="7694"/>
                    <a:pt x="15063" y="7683"/>
                    <a:pt x="15066" y="7670"/>
                  </a:cubicBezTo>
                  <a:cubicBezTo>
                    <a:pt x="15075" y="7626"/>
                    <a:pt x="15107" y="7593"/>
                    <a:pt x="15124" y="7553"/>
                  </a:cubicBezTo>
                  <a:cubicBezTo>
                    <a:pt x="15131" y="7535"/>
                    <a:pt x="15148" y="7529"/>
                    <a:pt x="15164" y="7545"/>
                  </a:cubicBezTo>
                  <a:cubicBezTo>
                    <a:pt x="15205" y="7588"/>
                    <a:pt x="15213" y="7667"/>
                    <a:pt x="15182" y="7719"/>
                  </a:cubicBezTo>
                  <a:cubicBezTo>
                    <a:pt x="15174" y="7732"/>
                    <a:pt x="15166" y="7743"/>
                    <a:pt x="15155" y="7753"/>
                  </a:cubicBezTo>
                  <a:cubicBezTo>
                    <a:pt x="15138" y="7768"/>
                    <a:pt x="15136" y="7787"/>
                    <a:pt x="15152" y="7803"/>
                  </a:cubicBezTo>
                  <a:cubicBezTo>
                    <a:pt x="15187" y="7836"/>
                    <a:pt x="15207" y="7874"/>
                    <a:pt x="15209" y="7923"/>
                  </a:cubicBezTo>
                  <a:cubicBezTo>
                    <a:pt x="15211" y="7948"/>
                    <a:pt x="15236" y="7956"/>
                    <a:pt x="15256" y="7940"/>
                  </a:cubicBezTo>
                  <a:cubicBezTo>
                    <a:pt x="15281" y="7921"/>
                    <a:pt x="15300" y="7897"/>
                    <a:pt x="15314" y="7868"/>
                  </a:cubicBezTo>
                  <a:cubicBezTo>
                    <a:pt x="15337" y="7821"/>
                    <a:pt x="15346" y="7770"/>
                    <a:pt x="15364" y="7721"/>
                  </a:cubicBezTo>
                  <a:cubicBezTo>
                    <a:pt x="15384" y="7668"/>
                    <a:pt x="15377" y="7624"/>
                    <a:pt x="15330" y="7588"/>
                  </a:cubicBezTo>
                  <a:cubicBezTo>
                    <a:pt x="15293" y="7560"/>
                    <a:pt x="15270" y="7525"/>
                    <a:pt x="15280" y="7476"/>
                  </a:cubicBezTo>
                  <a:close/>
                  <a:moveTo>
                    <a:pt x="10196" y="6857"/>
                  </a:moveTo>
                  <a:cubicBezTo>
                    <a:pt x="10191" y="6857"/>
                    <a:pt x="10187" y="6856"/>
                    <a:pt x="10182" y="6856"/>
                  </a:cubicBezTo>
                  <a:cubicBezTo>
                    <a:pt x="10165" y="6825"/>
                    <a:pt x="10150" y="6793"/>
                    <a:pt x="10132" y="6764"/>
                  </a:cubicBezTo>
                  <a:cubicBezTo>
                    <a:pt x="10110" y="6730"/>
                    <a:pt x="10103" y="6696"/>
                    <a:pt x="10114" y="6657"/>
                  </a:cubicBezTo>
                  <a:cubicBezTo>
                    <a:pt x="10122" y="6631"/>
                    <a:pt x="10124" y="6604"/>
                    <a:pt x="10120" y="6577"/>
                  </a:cubicBezTo>
                  <a:cubicBezTo>
                    <a:pt x="10119" y="6566"/>
                    <a:pt x="10116" y="6555"/>
                    <a:pt x="10103" y="6554"/>
                  </a:cubicBezTo>
                  <a:cubicBezTo>
                    <a:pt x="10092" y="6552"/>
                    <a:pt x="10084" y="6560"/>
                    <a:pt x="10079" y="6570"/>
                  </a:cubicBezTo>
                  <a:cubicBezTo>
                    <a:pt x="10074" y="6579"/>
                    <a:pt x="10070" y="6588"/>
                    <a:pt x="10066" y="6598"/>
                  </a:cubicBezTo>
                  <a:cubicBezTo>
                    <a:pt x="10037" y="6657"/>
                    <a:pt x="10009" y="6717"/>
                    <a:pt x="9980" y="6777"/>
                  </a:cubicBezTo>
                  <a:cubicBezTo>
                    <a:pt x="9958" y="6821"/>
                    <a:pt x="9934" y="6865"/>
                    <a:pt x="9914" y="6911"/>
                  </a:cubicBezTo>
                  <a:cubicBezTo>
                    <a:pt x="9901" y="6941"/>
                    <a:pt x="9906" y="6958"/>
                    <a:pt x="9935" y="6964"/>
                  </a:cubicBezTo>
                  <a:cubicBezTo>
                    <a:pt x="9999" y="6978"/>
                    <a:pt x="10057" y="7004"/>
                    <a:pt x="10113" y="7036"/>
                  </a:cubicBezTo>
                  <a:cubicBezTo>
                    <a:pt x="10124" y="7042"/>
                    <a:pt x="10137" y="7044"/>
                    <a:pt x="10149" y="7047"/>
                  </a:cubicBezTo>
                  <a:cubicBezTo>
                    <a:pt x="10193" y="7057"/>
                    <a:pt x="10211" y="7048"/>
                    <a:pt x="10233" y="7007"/>
                  </a:cubicBezTo>
                  <a:cubicBezTo>
                    <a:pt x="10254" y="6966"/>
                    <a:pt x="10277" y="6926"/>
                    <a:pt x="10296" y="6885"/>
                  </a:cubicBezTo>
                  <a:cubicBezTo>
                    <a:pt x="10341" y="6790"/>
                    <a:pt x="10386" y="6694"/>
                    <a:pt x="10429" y="6597"/>
                  </a:cubicBezTo>
                  <a:cubicBezTo>
                    <a:pt x="10467" y="6510"/>
                    <a:pt x="10498" y="6420"/>
                    <a:pt x="10541" y="6334"/>
                  </a:cubicBezTo>
                  <a:cubicBezTo>
                    <a:pt x="10606" y="6200"/>
                    <a:pt x="10670" y="6065"/>
                    <a:pt x="10733" y="5930"/>
                  </a:cubicBezTo>
                  <a:cubicBezTo>
                    <a:pt x="10771" y="5847"/>
                    <a:pt x="10806" y="5762"/>
                    <a:pt x="10843" y="5679"/>
                  </a:cubicBezTo>
                  <a:cubicBezTo>
                    <a:pt x="10853" y="5656"/>
                    <a:pt x="10851" y="5632"/>
                    <a:pt x="10826" y="5630"/>
                  </a:cubicBezTo>
                  <a:cubicBezTo>
                    <a:pt x="10778" y="5626"/>
                    <a:pt x="10730" y="5599"/>
                    <a:pt x="10680" y="5617"/>
                  </a:cubicBezTo>
                  <a:cubicBezTo>
                    <a:pt x="10653" y="5627"/>
                    <a:pt x="10629" y="5629"/>
                    <a:pt x="10604" y="5611"/>
                  </a:cubicBezTo>
                  <a:cubicBezTo>
                    <a:pt x="10583" y="5596"/>
                    <a:pt x="10564" y="5605"/>
                    <a:pt x="10551" y="5626"/>
                  </a:cubicBezTo>
                  <a:cubicBezTo>
                    <a:pt x="10543" y="5638"/>
                    <a:pt x="10536" y="5651"/>
                    <a:pt x="10531" y="5664"/>
                  </a:cubicBezTo>
                  <a:cubicBezTo>
                    <a:pt x="10506" y="5737"/>
                    <a:pt x="10470" y="5805"/>
                    <a:pt x="10439" y="5875"/>
                  </a:cubicBezTo>
                  <a:cubicBezTo>
                    <a:pt x="10417" y="5925"/>
                    <a:pt x="10407" y="5980"/>
                    <a:pt x="10440" y="6031"/>
                  </a:cubicBezTo>
                  <a:cubicBezTo>
                    <a:pt x="10454" y="6053"/>
                    <a:pt x="10457" y="6078"/>
                    <a:pt x="10461" y="6102"/>
                  </a:cubicBezTo>
                  <a:cubicBezTo>
                    <a:pt x="10468" y="6137"/>
                    <a:pt x="10460" y="6146"/>
                    <a:pt x="10423" y="6148"/>
                  </a:cubicBezTo>
                  <a:cubicBezTo>
                    <a:pt x="10400" y="6150"/>
                    <a:pt x="10377" y="6149"/>
                    <a:pt x="10354" y="6147"/>
                  </a:cubicBezTo>
                  <a:cubicBezTo>
                    <a:pt x="10325" y="6146"/>
                    <a:pt x="10307" y="6162"/>
                    <a:pt x="10296" y="6186"/>
                  </a:cubicBezTo>
                  <a:cubicBezTo>
                    <a:pt x="10286" y="6210"/>
                    <a:pt x="10301" y="6226"/>
                    <a:pt x="10319" y="6238"/>
                  </a:cubicBezTo>
                  <a:cubicBezTo>
                    <a:pt x="10350" y="6259"/>
                    <a:pt x="10367" y="6290"/>
                    <a:pt x="10386" y="6319"/>
                  </a:cubicBezTo>
                  <a:cubicBezTo>
                    <a:pt x="10405" y="6349"/>
                    <a:pt x="10400" y="6362"/>
                    <a:pt x="10367" y="6374"/>
                  </a:cubicBezTo>
                  <a:cubicBezTo>
                    <a:pt x="10345" y="6382"/>
                    <a:pt x="10323" y="6385"/>
                    <a:pt x="10300" y="6383"/>
                  </a:cubicBezTo>
                  <a:cubicBezTo>
                    <a:pt x="10277" y="6382"/>
                    <a:pt x="10254" y="6382"/>
                    <a:pt x="10231" y="6384"/>
                  </a:cubicBezTo>
                  <a:cubicBezTo>
                    <a:pt x="10209" y="6387"/>
                    <a:pt x="10191" y="6401"/>
                    <a:pt x="10187" y="6423"/>
                  </a:cubicBezTo>
                  <a:cubicBezTo>
                    <a:pt x="10183" y="6446"/>
                    <a:pt x="10203" y="6456"/>
                    <a:pt x="10221" y="6460"/>
                  </a:cubicBezTo>
                  <a:cubicBezTo>
                    <a:pt x="10257" y="6468"/>
                    <a:pt x="10272" y="6494"/>
                    <a:pt x="10282" y="6525"/>
                  </a:cubicBezTo>
                  <a:cubicBezTo>
                    <a:pt x="10292" y="6559"/>
                    <a:pt x="10293" y="6592"/>
                    <a:pt x="10288" y="6629"/>
                  </a:cubicBezTo>
                  <a:cubicBezTo>
                    <a:pt x="10278" y="6715"/>
                    <a:pt x="10221" y="6779"/>
                    <a:pt x="10196" y="6857"/>
                  </a:cubicBezTo>
                  <a:close/>
                  <a:moveTo>
                    <a:pt x="11946" y="3195"/>
                  </a:moveTo>
                  <a:cubicBezTo>
                    <a:pt x="11942" y="3107"/>
                    <a:pt x="11922" y="3023"/>
                    <a:pt x="11892" y="2940"/>
                  </a:cubicBezTo>
                  <a:cubicBezTo>
                    <a:pt x="11882" y="2912"/>
                    <a:pt x="11868" y="2894"/>
                    <a:pt x="11838" y="2887"/>
                  </a:cubicBezTo>
                  <a:cubicBezTo>
                    <a:pt x="11769" y="2869"/>
                    <a:pt x="11706" y="2838"/>
                    <a:pt x="11646" y="2801"/>
                  </a:cubicBezTo>
                  <a:cubicBezTo>
                    <a:pt x="11624" y="2787"/>
                    <a:pt x="11600" y="2784"/>
                    <a:pt x="11574" y="2785"/>
                  </a:cubicBezTo>
                  <a:cubicBezTo>
                    <a:pt x="11561" y="2786"/>
                    <a:pt x="11549" y="2788"/>
                    <a:pt x="11545" y="2803"/>
                  </a:cubicBezTo>
                  <a:cubicBezTo>
                    <a:pt x="11542" y="2817"/>
                    <a:pt x="11550" y="2829"/>
                    <a:pt x="11563" y="2832"/>
                  </a:cubicBezTo>
                  <a:cubicBezTo>
                    <a:pt x="11625" y="2845"/>
                    <a:pt x="11637" y="2900"/>
                    <a:pt x="11659" y="2945"/>
                  </a:cubicBezTo>
                  <a:cubicBezTo>
                    <a:pt x="11674" y="2976"/>
                    <a:pt x="11675" y="3011"/>
                    <a:pt x="11647" y="3038"/>
                  </a:cubicBezTo>
                  <a:cubicBezTo>
                    <a:pt x="11631" y="3054"/>
                    <a:pt x="11629" y="3075"/>
                    <a:pt x="11621" y="3094"/>
                  </a:cubicBezTo>
                  <a:cubicBezTo>
                    <a:pt x="11618" y="3102"/>
                    <a:pt x="11618" y="3111"/>
                    <a:pt x="11627" y="3116"/>
                  </a:cubicBezTo>
                  <a:cubicBezTo>
                    <a:pt x="11634" y="3121"/>
                    <a:pt x="11643" y="3118"/>
                    <a:pt x="11650" y="3113"/>
                  </a:cubicBezTo>
                  <a:cubicBezTo>
                    <a:pt x="11663" y="3104"/>
                    <a:pt x="11676" y="3093"/>
                    <a:pt x="11690" y="3084"/>
                  </a:cubicBezTo>
                  <a:cubicBezTo>
                    <a:pt x="11709" y="3070"/>
                    <a:pt x="11728" y="3068"/>
                    <a:pt x="11747" y="3084"/>
                  </a:cubicBezTo>
                  <a:cubicBezTo>
                    <a:pt x="11778" y="3109"/>
                    <a:pt x="11812" y="3128"/>
                    <a:pt x="11848" y="3143"/>
                  </a:cubicBezTo>
                  <a:cubicBezTo>
                    <a:pt x="11878" y="3156"/>
                    <a:pt x="11878" y="3167"/>
                    <a:pt x="11856" y="3189"/>
                  </a:cubicBezTo>
                  <a:cubicBezTo>
                    <a:pt x="11839" y="3206"/>
                    <a:pt x="11820" y="3223"/>
                    <a:pt x="11801" y="3239"/>
                  </a:cubicBezTo>
                  <a:cubicBezTo>
                    <a:pt x="11741" y="3290"/>
                    <a:pt x="11700" y="3293"/>
                    <a:pt x="11634" y="3253"/>
                  </a:cubicBezTo>
                  <a:cubicBezTo>
                    <a:pt x="11596" y="3230"/>
                    <a:pt x="11584" y="3234"/>
                    <a:pt x="11576" y="3279"/>
                  </a:cubicBezTo>
                  <a:cubicBezTo>
                    <a:pt x="11570" y="3315"/>
                    <a:pt x="11557" y="3346"/>
                    <a:pt x="11537" y="3376"/>
                  </a:cubicBezTo>
                  <a:cubicBezTo>
                    <a:pt x="11532" y="3385"/>
                    <a:pt x="11526" y="3394"/>
                    <a:pt x="11522" y="3403"/>
                  </a:cubicBezTo>
                  <a:cubicBezTo>
                    <a:pt x="11514" y="3425"/>
                    <a:pt x="11523" y="3436"/>
                    <a:pt x="11545" y="3436"/>
                  </a:cubicBezTo>
                  <a:cubicBezTo>
                    <a:pt x="11559" y="3436"/>
                    <a:pt x="11573" y="3431"/>
                    <a:pt x="11588" y="3429"/>
                  </a:cubicBezTo>
                  <a:cubicBezTo>
                    <a:pt x="11639" y="3421"/>
                    <a:pt x="11691" y="3420"/>
                    <a:pt x="11742" y="3436"/>
                  </a:cubicBezTo>
                  <a:cubicBezTo>
                    <a:pt x="11760" y="3441"/>
                    <a:pt x="11767" y="3452"/>
                    <a:pt x="11754" y="3468"/>
                  </a:cubicBezTo>
                  <a:cubicBezTo>
                    <a:pt x="11724" y="3508"/>
                    <a:pt x="11694" y="3550"/>
                    <a:pt x="11650" y="3574"/>
                  </a:cubicBezTo>
                  <a:cubicBezTo>
                    <a:pt x="11594" y="3603"/>
                    <a:pt x="11528" y="3620"/>
                    <a:pt x="11472" y="3583"/>
                  </a:cubicBezTo>
                  <a:cubicBezTo>
                    <a:pt x="11430" y="3555"/>
                    <a:pt x="11398" y="3543"/>
                    <a:pt x="11359" y="3581"/>
                  </a:cubicBezTo>
                  <a:cubicBezTo>
                    <a:pt x="11355" y="3585"/>
                    <a:pt x="11347" y="3585"/>
                    <a:pt x="11342" y="3588"/>
                  </a:cubicBezTo>
                  <a:cubicBezTo>
                    <a:pt x="11312" y="3610"/>
                    <a:pt x="11276" y="3627"/>
                    <a:pt x="11259" y="3661"/>
                  </a:cubicBezTo>
                  <a:cubicBezTo>
                    <a:pt x="11234" y="3712"/>
                    <a:pt x="11209" y="3762"/>
                    <a:pt x="11197" y="3817"/>
                  </a:cubicBezTo>
                  <a:cubicBezTo>
                    <a:pt x="11194" y="3832"/>
                    <a:pt x="11188" y="3846"/>
                    <a:pt x="11192" y="3860"/>
                  </a:cubicBezTo>
                  <a:cubicBezTo>
                    <a:pt x="11218" y="3951"/>
                    <a:pt x="11235" y="4046"/>
                    <a:pt x="11296" y="4124"/>
                  </a:cubicBezTo>
                  <a:cubicBezTo>
                    <a:pt x="11333" y="4171"/>
                    <a:pt x="11370" y="4219"/>
                    <a:pt x="11399" y="4272"/>
                  </a:cubicBezTo>
                  <a:cubicBezTo>
                    <a:pt x="11404" y="4282"/>
                    <a:pt x="11409" y="4292"/>
                    <a:pt x="11421" y="4291"/>
                  </a:cubicBezTo>
                  <a:cubicBezTo>
                    <a:pt x="11437" y="4290"/>
                    <a:pt x="11441" y="4278"/>
                    <a:pt x="11443" y="4265"/>
                  </a:cubicBezTo>
                  <a:cubicBezTo>
                    <a:pt x="11453" y="4212"/>
                    <a:pt x="11468" y="4160"/>
                    <a:pt x="11489" y="4110"/>
                  </a:cubicBezTo>
                  <a:cubicBezTo>
                    <a:pt x="11514" y="4047"/>
                    <a:pt x="11541" y="3984"/>
                    <a:pt x="11567" y="3920"/>
                  </a:cubicBezTo>
                  <a:cubicBezTo>
                    <a:pt x="11586" y="3875"/>
                    <a:pt x="11575" y="3855"/>
                    <a:pt x="11528" y="3843"/>
                  </a:cubicBezTo>
                  <a:cubicBezTo>
                    <a:pt x="11508" y="3839"/>
                    <a:pt x="11487" y="3837"/>
                    <a:pt x="11466" y="3835"/>
                  </a:cubicBezTo>
                  <a:cubicBezTo>
                    <a:pt x="11452" y="3832"/>
                    <a:pt x="11437" y="3829"/>
                    <a:pt x="11433" y="3812"/>
                  </a:cubicBezTo>
                  <a:cubicBezTo>
                    <a:pt x="11428" y="3795"/>
                    <a:pt x="11439" y="3786"/>
                    <a:pt x="11451" y="3777"/>
                  </a:cubicBezTo>
                  <a:cubicBezTo>
                    <a:pt x="11496" y="3739"/>
                    <a:pt x="11551" y="3727"/>
                    <a:pt x="11607" y="3723"/>
                  </a:cubicBezTo>
                  <a:cubicBezTo>
                    <a:pt x="11638" y="3721"/>
                    <a:pt x="11664" y="3713"/>
                    <a:pt x="11680" y="3685"/>
                  </a:cubicBezTo>
                  <a:cubicBezTo>
                    <a:pt x="11727" y="3602"/>
                    <a:pt x="11796" y="3538"/>
                    <a:pt x="11864" y="3474"/>
                  </a:cubicBezTo>
                  <a:cubicBezTo>
                    <a:pt x="11896" y="3445"/>
                    <a:pt x="11917" y="3411"/>
                    <a:pt x="11925" y="3368"/>
                  </a:cubicBezTo>
                  <a:cubicBezTo>
                    <a:pt x="11936" y="3311"/>
                    <a:pt x="11947" y="3254"/>
                    <a:pt x="11946" y="3195"/>
                  </a:cubicBezTo>
                  <a:close/>
                  <a:moveTo>
                    <a:pt x="7868" y="1451"/>
                  </a:moveTo>
                  <a:cubicBezTo>
                    <a:pt x="7838" y="1424"/>
                    <a:pt x="7808" y="1408"/>
                    <a:pt x="7777" y="1392"/>
                  </a:cubicBezTo>
                  <a:cubicBezTo>
                    <a:pt x="7730" y="1367"/>
                    <a:pt x="7684" y="1367"/>
                    <a:pt x="7640" y="1394"/>
                  </a:cubicBezTo>
                  <a:cubicBezTo>
                    <a:pt x="7580" y="1430"/>
                    <a:pt x="7517" y="1441"/>
                    <a:pt x="7448" y="1425"/>
                  </a:cubicBezTo>
                  <a:cubicBezTo>
                    <a:pt x="7418" y="1419"/>
                    <a:pt x="7386" y="1416"/>
                    <a:pt x="7357" y="1407"/>
                  </a:cubicBezTo>
                  <a:cubicBezTo>
                    <a:pt x="7318" y="1394"/>
                    <a:pt x="7283" y="1401"/>
                    <a:pt x="7248" y="1417"/>
                  </a:cubicBezTo>
                  <a:cubicBezTo>
                    <a:pt x="7231" y="1425"/>
                    <a:pt x="7214" y="1433"/>
                    <a:pt x="7196" y="1438"/>
                  </a:cubicBezTo>
                  <a:cubicBezTo>
                    <a:pt x="7143" y="1456"/>
                    <a:pt x="7098" y="1479"/>
                    <a:pt x="7097" y="1546"/>
                  </a:cubicBezTo>
                  <a:cubicBezTo>
                    <a:pt x="7096" y="1561"/>
                    <a:pt x="7078" y="1580"/>
                    <a:pt x="7098" y="1589"/>
                  </a:cubicBezTo>
                  <a:cubicBezTo>
                    <a:pt x="7116" y="1598"/>
                    <a:pt x="7127" y="1574"/>
                    <a:pt x="7133" y="1562"/>
                  </a:cubicBezTo>
                  <a:cubicBezTo>
                    <a:pt x="7166" y="1499"/>
                    <a:pt x="7230" y="1486"/>
                    <a:pt x="7287" y="1464"/>
                  </a:cubicBezTo>
                  <a:cubicBezTo>
                    <a:pt x="7319" y="1451"/>
                    <a:pt x="7333" y="1466"/>
                    <a:pt x="7328" y="1502"/>
                  </a:cubicBezTo>
                  <a:cubicBezTo>
                    <a:pt x="7326" y="1523"/>
                    <a:pt x="7323" y="1543"/>
                    <a:pt x="7318" y="1563"/>
                  </a:cubicBezTo>
                  <a:cubicBezTo>
                    <a:pt x="7297" y="1648"/>
                    <a:pt x="7267" y="1722"/>
                    <a:pt x="7166" y="1738"/>
                  </a:cubicBezTo>
                  <a:cubicBezTo>
                    <a:pt x="7131" y="1743"/>
                    <a:pt x="7125" y="1763"/>
                    <a:pt x="7147" y="1792"/>
                  </a:cubicBezTo>
                  <a:cubicBezTo>
                    <a:pt x="7176" y="1830"/>
                    <a:pt x="7208" y="1865"/>
                    <a:pt x="7240" y="1901"/>
                  </a:cubicBezTo>
                  <a:cubicBezTo>
                    <a:pt x="7248" y="1910"/>
                    <a:pt x="7259" y="1918"/>
                    <a:pt x="7270" y="1921"/>
                  </a:cubicBezTo>
                  <a:cubicBezTo>
                    <a:pt x="7359" y="1941"/>
                    <a:pt x="7448" y="1961"/>
                    <a:pt x="7538" y="1977"/>
                  </a:cubicBezTo>
                  <a:cubicBezTo>
                    <a:pt x="7587" y="1986"/>
                    <a:pt x="7637" y="1986"/>
                    <a:pt x="7684" y="2003"/>
                  </a:cubicBezTo>
                  <a:cubicBezTo>
                    <a:pt x="7700" y="2009"/>
                    <a:pt x="7717" y="2011"/>
                    <a:pt x="7733" y="2010"/>
                  </a:cubicBezTo>
                  <a:cubicBezTo>
                    <a:pt x="7755" y="2010"/>
                    <a:pt x="7761" y="1995"/>
                    <a:pt x="7748" y="1976"/>
                  </a:cubicBezTo>
                  <a:cubicBezTo>
                    <a:pt x="7738" y="1963"/>
                    <a:pt x="7723" y="1953"/>
                    <a:pt x="7719" y="1936"/>
                  </a:cubicBezTo>
                  <a:cubicBezTo>
                    <a:pt x="7715" y="1920"/>
                    <a:pt x="7719" y="1902"/>
                    <a:pt x="7738" y="1908"/>
                  </a:cubicBezTo>
                  <a:cubicBezTo>
                    <a:pt x="7791" y="1924"/>
                    <a:pt x="7851" y="1920"/>
                    <a:pt x="7891" y="1970"/>
                  </a:cubicBezTo>
                  <a:cubicBezTo>
                    <a:pt x="7905" y="1987"/>
                    <a:pt x="7926" y="1999"/>
                    <a:pt x="7943" y="2013"/>
                  </a:cubicBezTo>
                  <a:cubicBezTo>
                    <a:pt x="8005" y="2066"/>
                    <a:pt x="8086" y="2068"/>
                    <a:pt x="8155" y="2101"/>
                  </a:cubicBezTo>
                  <a:cubicBezTo>
                    <a:pt x="8161" y="2103"/>
                    <a:pt x="8167" y="2100"/>
                    <a:pt x="8171" y="2094"/>
                  </a:cubicBezTo>
                  <a:cubicBezTo>
                    <a:pt x="8177" y="2087"/>
                    <a:pt x="8175" y="2078"/>
                    <a:pt x="8171" y="2071"/>
                  </a:cubicBezTo>
                  <a:cubicBezTo>
                    <a:pt x="8160" y="2051"/>
                    <a:pt x="8140" y="2038"/>
                    <a:pt x="8123" y="2023"/>
                  </a:cubicBezTo>
                  <a:cubicBezTo>
                    <a:pt x="8077" y="1983"/>
                    <a:pt x="8037" y="1940"/>
                    <a:pt x="8017" y="1879"/>
                  </a:cubicBezTo>
                  <a:cubicBezTo>
                    <a:pt x="7999" y="1822"/>
                    <a:pt x="7975" y="1808"/>
                    <a:pt x="7918" y="1830"/>
                  </a:cubicBezTo>
                  <a:cubicBezTo>
                    <a:pt x="7857" y="1853"/>
                    <a:pt x="7798" y="1855"/>
                    <a:pt x="7736" y="1836"/>
                  </a:cubicBezTo>
                  <a:cubicBezTo>
                    <a:pt x="7710" y="1829"/>
                    <a:pt x="7682" y="1828"/>
                    <a:pt x="7656" y="1824"/>
                  </a:cubicBezTo>
                  <a:cubicBezTo>
                    <a:pt x="7645" y="1822"/>
                    <a:pt x="7635" y="1822"/>
                    <a:pt x="7626" y="1817"/>
                  </a:cubicBezTo>
                  <a:cubicBezTo>
                    <a:pt x="7607" y="1809"/>
                    <a:pt x="7600" y="1795"/>
                    <a:pt x="7615" y="1778"/>
                  </a:cubicBezTo>
                  <a:cubicBezTo>
                    <a:pt x="7650" y="1739"/>
                    <a:pt x="7689" y="1704"/>
                    <a:pt x="7739" y="1687"/>
                  </a:cubicBezTo>
                  <a:cubicBezTo>
                    <a:pt x="7803" y="1666"/>
                    <a:pt x="7866" y="1662"/>
                    <a:pt x="7922" y="1711"/>
                  </a:cubicBezTo>
                  <a:cubicBezTo>
                    <a:pt x="7936" y="1724"/>
                    <a:pt x="7955" y="1726"/>
                    <a:pt x="7974" y="1727"/>
                  </a:cubicBezTo>
                  <a:cubicBezTo>
                    <a:pt x="7988" y="1727"/>
                    <a:pt x="7997" y="1719"/>
                    <a:pt x="8002" y="1706"/>
                  </a:cubicBezTo>
                  <a:cubicBezTo>
                    <a:pt x="8015" y="1672"/>
                    <a:pt x="7989" y="1591"/>
                    <a:pt x="7959" y="1569"/>
                  </a:cubicBezTo>
                  <a:cubicBezTo>
                    <a:pt x="7944" y="1559"/>
                    <a:pt x="7928" y="1556"/>
                    <a:pt x="7911" y="1563"/>
                  </a:cubicBezTo>
                  <a:cubicBezTo>
                    <a:pt x="7896" y="1570"/>
                    <a:pt x="7879" y="1575"/>
                    <a:pt x="7867" y="1585"/>
                  </a:cubicBezTo>
                  <a:cubicBezTo>
                    <a:pt x="7838" y="1607"/>
                    <a:pt x="7806" y="1611"/>
                    <a:pt x="7772" y="1610"/>
                  </a:cubicBezTo>
                  <a:cubicBezTo>
                    <a:pt x="7701" y="1610"/>
                    <a:pt x="7631" y="1611"/>
                    <a:pt x="7570" y="1656"/>
                  </a:cubicBezTo>
                  <a:cubicBezTo>
                    <a:pt x="7552" y="1669"/>
                    <a:pt x="7536" y="1657"/>
                    <a:pt x="7540" y="1636"/>
                  </a:cubicBezTo>
                  <a:cubicBezTo>
                    <a:pt x="7544" y="1611"/>
                    <a:pt x="7555" y="1589"/>
                    <a:pt x="7564" y="1565"/>
                  </a:cubicBezTo>
                  <a:cubicBezTo>
                    <a:pt x="7599" y="1474"/>
                    <a:pt x="7703" y="1399"/>
                    <a:pt x="7816" y="1454"/>
                  </a:cubicBezTo>
                  <a:cubicBezTo>
                    <a:pt x="7831" y="1462"/>
                    <a:pt x="7846" y="1470"/>
                    <a:pt x="7868" y="1451"/>
                  </a:cubicBezTo>
                  <a:close/>
                  <a:moveTo>
                    <a:pt x="6830" y="12022"/>
                  </a:moveTo>
                  <a:cubicBezTo>
                    <a:pt x="6845" y="12080"/>
                    <a:pt x="6856" y="12139"/>
                    <a:pt x="6876" y="12195"/>
                  </a:cubicBezTo>
                  <a:cubicBezTo>
                    <a:pt x="6917" y="12312"/>
                    <a:pt x="7017" y="12381"/>
                    <a:pt x="7103" y="12462"/>
                  </a:cubicBezTo>
                  <a:cubicBezTo>
                    <a:pt x="7104" y="12463"/>
                    <a:pt x="7106" y="12464"/>
                    <a:pt x="7108" y="12465"/>
                  </a:cubicBezTo>
                  <a:cubicBezTo>
                    <a:pt x="7136" y="12478"/>
                    <a:pt x="7156" y="12471"/>
                    <a:pt x="7169" y="12443"/>
                  </a:cubicBezTo>
                  <a:cubicBezTo>
                    <a:pt x="7205" y="12362"/>
                    <a:pt x="7239" y="12279"/>
                    <a:pt x="7271" y="12197"/>
                  </a:cubicBezTo>
                  <a:cubicBezTo>
                    <a:pt x="7323" y="12064"/>
                    <a:pt x="7375" y="11931"/>
                    <a:pt x="7414" y="11794"/>
                  </a:cubicBezTo>
                  <a:cubicBezTo>
                    <a:pt x="7423" y="11762"/>
                    <a:pt x="7436" y="11732"/>
                    <a:pt x="7450" y="11701"/>
                  </a:cubicBezTo>
                  <a:cubicBezTo>
                    <a:pt x="7472" y="11655"/>
                    <a:pt x="7490" y="11606"/>
                    <a:pt x="7513" y="11559"/>
                  </a:cubicBezTo>
                  <a:cubicBezTo>
                    <a:pt x="7518" y="11550"/>
                    <a:pt x="7520" y="11539"/>
                    <a:pt x="7512" y="11530"/>
                  </a:cubicBezTo>
                  <a:cubicBezTo>
                    <a:pt x="7502" y="11519"/>
                    <a:pt x="7489" y="11521"/>
                    <a:pt x="7478" y="11528"/>
                  </a:cubicBezTo>
                  <a:cubicBezTo>
                    <a:pt x="7469" y="11533"/>
                    <a:pt x="7461" y="11540"/>
                    <a:pt x="7453" y="11546"/>
                  </a:cubicBezTo>
                  <a:cubicBezTo>
                    <a:pt x="7373" y="11599"/>
                    <a:pt x="7290" y="11643"/>
                    <a:pt x="7195" y="11667"/>
                  </a:cubicBezTo>
                  <a:cubicBezTo>
                    <a:pt x="7145" y="11681"/>
                    <a:pt x="7090" y="11691"/>
                    <a:pt x="7045" y="11722"/>
                  </a:cubicBezTo>
                  <a:cubicBezTo>
                    <a:pt x="7019" y="11739"/>
                    <a:pt x="6994" y="11758"/>
                    <a:pt x="6966" y="11772"/>
                  </a:cubicBezTo>
                  <a:cubicBezTo>
                    <a:pt x="6927" y="11791"/>
                    <a:pt x="6905" y="11823"/>
                    <a:pt x="6905" y="11865"/>
                  </a:cubicBezTo>
                  <a:cubicBezTo>
                    <a:pt x="6905" y="11898"/>
                    <a:pt x="6892" y="11921"/>
                    <a:pt x="6868" y="11940"/>
                  </a:cubicBezTo>
                  <a:cubicBezTo>
                    <a:pt x="6842" y="11961"/>
                    <a:pt x="6825" y="11986"/>
                    <a:pt x="6830" y="12022"/>
                  </a:cubicBezTo>
                  <a:close/>
                  <a:moveTo>
                    <a:pt x="11866" y="7379"/>
                  </a:moveTo>
                  <a:cubicBezTo>
                    <a:pt x="11865" y="7406"/>
                    <a:pt x="11859" y="7428"/>
                    <a:pt x="11879" y="7439"/>
                  </a:cubicBezTo>
                  <a:cubicBezTo>
                    <a:pt x="11897" y="7449"/>
                    <a:pt x="11915" y="7437"/>
                    <a:pt x="11930" y="7425"/>
                  </a:cubicBezTo>
                  <a:cubicBezTo>
                    <a:pt x="11961" y="7401"/>
                    <a:pt x="11997" y="7384"/>
                    <a:pt x="12034" y="7371"/>
                  </a:cubicBezTo>
                  <a:cubicBezTo>
                    <a:pt x="12054" y="7365"/>
                    <a:pt x="12074" y="7358"/>
                    <a:pt x="12093" y="7349"/>
                  </a:cubicBezTo>
                  <a:cubicBezTo>
                    <a:pt x="12132" y="7332"/>
                    <a:pt x="12138" y="7310"/>
                    <a:pt x="12109" y="7278"/>
                  </a:cubicBezTo>
                  <a:cubicBezTo>
                    <a:pt x="12089" y="7257"/>
                    <a:pt x="12069" y="7235"/>
                    <a:pt x="12057" y="7208"/>
                  </a:cubicBezTo>
                  <a:cubicBezTo>
                    <a:pt x="12046" y="7184"/>
                    <a:pt x="12029" y="7159"/>
                    <a:pt x="12037" y="7132"/>
                  </a:cubicBezTo>
                  <a:cubicBezTo>
                    <a:pt x="12053" y="7078"/>
                    <a:pt x="12072" y="7025"/>
                    <a:pt x="12092" y="6972"/>
                  </a:cubicBezTo>
                  <a:cubicBezTo>
                    <a:pt x="12102" y="6948"/>
                    <a:pt x="12122" y="6942"/>
                    <a:pt x="12143" y="6953"/>
                  </a:cubicBezTo>
                  <a:cubicBezTo>
                    <a:pt x="12214" y="6989"/>
                    <a:pt x="12250" y="7066"/>
                    <a:pt x="12233" y="7147"/>
                  </a:cubicBezTo>
                  <a:cubicBezTo>
                    <a:pt x="12229" y="7168"/>
                    <a:pt x="12225" y="7188"/>
                    <a:pt x="12221" y="7208"/>
                  </a:cubicBezTo>
                  <a:cubicBezTo>
                    <a:pt x="12218" y="7222"/>
                    <a:pt x="12219" y="7234"/>
                    <a:pt x="12230" y="7242"/>
                  </a:cubicBezTo>
                  <a:cubicBezTo>
                    <a:pt x="12244" y="7252"/>
                    <a:pt x="12259" y="7246"/>
                    <a:pt x="12270" y="7236"/>
                  </a:cubicBezTo>
                  <a:cubicBezTo>
                    <a:pt x="12292" y="7216"/>
                    <a:pt x="12305" y="7190"/>
                    <a:pt x="12316" y="7163"/>
                  </a:cubicBezTo>
                  <a:cubicBezTo>
                    <a:pt x="12334" y="7118"/>
                    <a:pt x="12355" y="7077"/>
                    <a:pt x="12406" y="7058"/>
                  </a:cubicBezTo>
                  <a:cubicBezTo>
                    <a:pt x="12444" y="7043"/>
                    <a:pt x="12450" y="7019"/>
                    <a:pt x="12426" y="6982"/>
                  </a:cubicBezTo>
                  <a:cubicBezTo>
                    <a:pt x="12349" y="6863"/>
                    <a:pt x="12316" y="6721"/>
                    <a:pt x="12230" y="6607"/>
                  </a:cubicBezTo>
                  <a:cubicBezTo>
                    <a:pt x="12200" y="6567"/>
                    <a:pt x="12173" y="6525"/>
                    <a:pt x="12139" y="6489"/>
                  </a:cubicBezTo>
                  <a:cubicBezTo>
                    <a:pt x="12106" y="6453"/>
                    <a:pt x="12103" y="6456"/>
                    <a:pt x="12065" y="6490"/>
                  </a:cubicBezTo>
                  <a:cubicBezTo>
                    <a:pt x="12024" y="6525"/>
                    <a:pt x="12012" y="6566"/>
                    <a:pt x="12020" y="6618"/>
                  </a:cubicBezTo>
                  <a:cubicBezTo>
                    <a:pt x="12043" y="6758"/>
                    <a:pt x="12016" y="6886"/>
                    <a:pt x="11931" y="7002"/>
                  </a:cubicBezTo>
                  <a:cubicBezTo>
                    <a:pt x="11900" y="7044"/>
                    <a:pt x="11873" y="7090"/>
                    <a:pt x="11877" y="7145"/>
                  </a:cubicBezTo>
                  <a:cubicBezTo>
                    <a:pt x="11882" y="7227"/>
                    <a:pt x="11879" y="7307"/>
                    <a:pt x="11866" y="7379"/>
                  </a:cubicBezTo>
                  <a:close/>
                  <a:moveTo>
                    <a:pt x="7918" y="10463"/>
                  </a:moveTo>
                  <a:cubicBezTo>
                    <a:pt x="7915" y="10442"/>
                    <a:pt x="7901" y="10440"/>
                    <a:pt x="7886" y="10445"/>
                  </a:cubicBezTo>
                  <a:cubicBezTo>
                    <a:pt x="7856" y="10455"/>
                    <a:pt x="7840" y="10481"/>
                    <a:pt x="7823" y="10503"/>
                  </a:cubicBezTo>
                  <a:cubicBezTo>
                    <a:pt x="7786" y="10551"/>
                    <a:pt x="7749" y="10598"/>
                    <a:pt x="7715" y="10648"/>
                  </a:cubicBezTo>
                  <a:cubicBezTo>
                    <a:pt x="7654" y="10739"/>
                    <a:pt x="7573" y="10811"/>
                    <a:pt x="7496" y="10886"/>
                  </a:cubicBezTo>
                  <a:cubicBezTo>
                    <a:pt x="7429" y="10952"/>
                    <a:pt x="7351" y="11008"/>
                    <a:pt x="7288" y="11081"/>
                  </a:cubicBezTo>
                  <a:cubicBezTo>
                    <a:pt x="7283" y="11087"/>
                    <a:pt x="7276" y="11092"/>
                    <a:pt x="7269" y="11097"/>
                  </a:cubicBezTo>
                  <a:cubicBezTo>
                    <a:pt x="7165" y="11180"/>
                    <a:pt x="7061" y="11263"/>
                    <a:pt x="6957" y="11346"/>
                  </a:cubicBezTo>
                  <a:cubicBezTo>
                    <a:pt x="6948" y="11354"/>
                    <a:pt x="6936" y="11359"/>
                    <a:pt x="6927" y="11368"/>
                  </a:cubicBezTo>
                  <a:cubicBezTo>
                    <a:pt x="6902" y="11391"/>
                    <a:pt x="6900" y="11408"/>
                    <a:pt x="6917" y="11433"/>
                  </a:cubicBezTo>
                  <a:cubicBezTo>
                    <a:pt x="6934" y="11459"/>
                    <a:pt x="6956" y="11454"/>
                    <a:pt x="6976" y="11440"/>
                  </a:cubicBezTo>
                  <a:cubicBezTo>
                    <a:pt x="7009" y="11418"/>
                    <a:pt x="7044" y="11411"/>
                    <a:pt x="7082" y="11406"/>
                  </a:cubicBezTo>
                  <a:cubicBezTo>
                    <a:pt x="7098" y="11404"/>
                    <a:pt x="7114" y="11398"/>
                    <a:pt x="7130" y="11393"/>
                  </a:cubicBezTo>
                  <a:cubicBezTo>
                    <a:pt x="7246" y="11352"/>
                    <a:pt x="7364" y="11319"/>
                    <a:pt x="7484" y="11293"/>
                  </a:cubicBezTo>
                  <a:cubicBezTo>
                    <a:pt x="7550" y="11279"/>
                    <a:pt x="7587" y="11248"/>
                    <a:pt x="7603" y="11185"/>
                  </a:cubicBezTo>
                  <a:cubicBezTo>
                    <a:pt x="7620" y="11118"/>
                    <a:pt x="7646" y="11055"/>
                    <a:pt x="7676" y="10993"/>
                  </a:cubicBezTo>
                  <a:cubicBezTo>
                    <a:pt x="7738" y="10866"/>
                    <a:pt x="7801" y="10740"/>
                    <a:pt x="7850" y="10607"/>
                  </a:cubicBezTo>
                  <a:cubicBezTo>
                    <a:pt x="7867" y="10563"/>
                    <a:pt x="7875" y="10514"/>
                    <a:pt x="7912" y="10479"/>
                  </a:cubicBezTo>
                  <a:cubicBezTo>
                    <a:pt x="7916" y="10475"/>
                    <a:pt x="7916" y="10468"/>
                    <a:pt x="7918" y="10463"/>
                  </a:cubicBezTo>
                  <a:close/>
                  <a:moveTo>
                    <a:pt x="7229" y="12514"/>
                  </a:moveTo>
                  <a:cubicBezTo>
                    <a:pt x="7229" y="12522"/>
                    <a:pt x="7225" y="12540"/>
                    <a:pt x="7241" y="12552"/>
                  </a:cubicBezTo>
                  <a:cubicBezTo>
                    <a:pt x="7265" y="12571"/>
                    <a:pt x="7290" y="12590"/>
                    <a:pt x="7316" y="12607"/>
                  </a:cubicBezTo>
                  <a:cubicBezTo>
                    <a:pt x="7328" y="12615"/>
                    <a:pt x="7340" y="12608"/>
                    <a:pt x="7348" y="12597"/>
                  </a:cubicBezTo>
                  <a:cubicBezTo>
                    <a:pt x="7359" y="12580"/>
                    <a:pt x="7369" y="12562"/>
                    <a:pt x="7372" y="12540"/>
                  </a:cubicBezTo>
                  <a:cubicBezTo>
                    <a:pt x="7374" y="12522"/>
                    <a:pt x="7378" y="12503"/>
                    <a:pt x="7384" y="12486"/>
                  </a:cubicBezTo>
                  <a:cubicBezTo>
                    <a:pt x="7425" y="12368"/>
                    <a:pt x="7489" y="12261"/>
                    <a:pt x="7540" y="12148"/>
                  </a:cubicBezTo>
                  <a:cubicBezTo>
                    <a:pt x="7574" y="12073"/>
                    <a:pt x="7621" y="12004"/>
                    <a:pt x="7651" y="11926"/>
                  </a:cubicBezTo>
                  <a:cubicBezTo>
                    <a:pt x="7666" y="11886"/>
                    <a:pt x="7678" y="11843"/>
                    <a:pt x="7698" y="11804"/>
                  </a:cubicBezTo>
                  <a:cubicBezTo>
                    <a:pt x="7753" y="11693"/>
                    <a:pt x="7810" y="11583"/>
                    <a:pt x="7868" y="11473"/>
                  </a:cubicBezTo>
                  <a:cubicBezTo>
                    <a:pt x="7881" y="11449"/>
                    <a:pt x="7889" y="11423"/>
                    <a:pt x="7898" y="11398"/>
                  </a:cubicBezTo>
                  <a:cubicBezTo>
                    <a:pt x="7910" y="11364"/>
                    <a:pt x="7895" y="11346"/>
                    <a:pt x="7860" y="11350"/>
                  </a:cubicBezTo>
                  <a:cubicBezTo>
                    <a:pt x="7834" y="11353"/>
                    <a:pt x="7813" y="11366"/>
                    <a:pt x="7791" y="11378"/>
                  </a:cubicBezTo>
                  <a:cubicBezTo>
                    <a:pt x="7741" y="11407"/>
                    <a:pt x="7695" y="11443"/>
                    <a:pt x="7642" y="11467"/>
                  </a:cubicBezTo>
                  <a:cubicBezTo>
                    <a:pt x="7620" y="11477"/>
                    <a:pt x="7610" y="11498"/>
                    <a:pt x="7600" y="11520"/>
                  </a:cubicBezTo>
                  <a:cubicBezTo>
                    <a:pt x="7559" y="11616"/>
                    <a:pt x="7515" y="11712"/>
                    <a:pt x="7476" y="11809"/>
                  </a:cubicBezTo>
                  <a:cubicBezTo>
                    <a:pt x="7427" y="11931"/>
                    <a:pt x="7382" y="12053"/>
                    <a:pt x="7338" y="12176"/>
                  </a:cubicBezTo>
                  <a:cubicBezTo>
                    <a:pt x="7308" y="12262"/>
                    <a:pt x="7290" y="12353"/>
                    <a:pt x="7243" y="12433"/>
                  </a:cubicBezTo>
                  <a:cubicBezTo>
                    <a:pt x="7231" y="12455"/>
                    <a:pt x="7230" y="12481"/>
                    <a:pt x="7229" y="12514"/>
                  </a:cubicBezTo>
                  <a:close/>
                  <a:moveTo>
                    <a:pt x="13841" y="6982"/>
                  </a:moveTo>
                  <a:cubicBezTo>
                    <a:pt x="13909" y="6918"/>
                    <a:pt x="13920" y="6869"/>
                    <a:pt x="13866" y="6809"/>
                  </a:cubicBezTo>
                  <a:cubicBezTo>
                    <a:pt x="13819" y="6757"/>
                    <a:pt x="13820" y="6695"/>
                    <a:pt x="13811" y="6635"/>
                  </a:cubicBezTo>
                  <a:cubicBezTo>
                    <a:pt x="13807" y="6612"/>
                    <a:pt x="13812" y="6581"/>
                    <a:pt x="13836" y="6569"/>
                  </a:cubicBezTo>
                  <a:cubicBezTo>
                    <a:pt x="13859" y="6558"/>
                    <a:pt x="13877" y="6581"/>
                    <a:pt x="13897" y="6592"/>
                  </a:cubicBezTo>
                  <a:cubicBezTo>
                    <a:pt x="13904" y="6596"/>
                    <a:pt x="13911" y="6601"/>
                    <a:pt x="13917" y="6606"/>
                  </a:cubicBezTo>
                  <a:cubicBezTo>
                    <a:pt x="13962" y="6642"/>
                    <a:pt x="13993" y="6684"/>
                    <a:pt x="13971" y="6746"/>
                  </a:cubicBezTo>
                  <a:cubicBezTo>
                    <a:pt x="13967" y="6755"/>
                    <a:pt x="13967" y="6767"/>
                    <a:pt x="13970" y="6776"/>
                  </a:cubicBezTo>
                  <a:cubicBezTo>
                    <a:pt x="13973" y="6791"/>
                    <a:pt x="13983" y="6799"/>
                    <a:pt x="13997" y="6789"/>
                  </a:cubicBezTo>
                  <a:cubicBezTo>
                    <a:pt x="14007" y="6782"/>
                    <a:pt x="14015" y="6772"/>
                    <a:pt x="14023" y="6763"/>
                  </a:cubicBezTo>
                  <a:cubicBezTo>
                    <a:pt x="14062" y="6723"/>
                    <a:pt x="14067" y="6672"/>
                    <a:pt x="14072" y="6619"/>
                  </a:cubicBezTo>
                  <a:cubicBezTo>
                    <a:pt x="14077" y="6566"/>
                    <a:pt x="14080" y="6566"/>
                    <a:pt x="14033" y="6547"/>
                  </a:cubicBezTo>
                  <a:cubicBezTo>
                    <a:pt x="14018" y="6540"/>
                    <a:pt x="14002" y="6533"/>
                    <a:pt x="13990" y="6523"/>
                  </a:cubicBezTo>
                  <a:cubicBezTo>
                    <a:pt x="13943" y="6482"/>
                    <a:pt x="13894" y="6441"/>
                    <a:pt x="13865" y="6385"/>
                  </a:cubicBezTo>
                  <a:cubicBezTo>
                    <a:pt x="13849" y="6354"/>
                    <a:pt x="13824" y="6347"/>
                    <a:pt x="13794" y="6346"/>
                  </a:cubicBezTo>
                  <a:cubicBezTo>
                    <a:pt x="13758" y="6345"/>
                    <a:pt x="13735" y="6367"/>
                    <a:pt x="13717" y="6392"/>
                  </a:cubicBezTo>
                  <a:cubicBezTo>
                    <a:pt x="13652" y="6484"/>
                    <a:pt x="13613" y="6583"/>
                    <a:pt x="13617" y="6700"/>
                  </a:cubicBezTo>
                  <a:cubicBezTo>
                    <a:pt x="13619" y="6771"/>
                    <a:pt x="13609" y="6845"/>
                    <a:pt x="13584" y="6914"/>
                  </a:cubicBezTo>
                  <a:cubicBezTo>
                    <a:pt x="13577" y="6936"/>
                    <a:pt x="13570" y="6958"/>
                    <a:pt x="13569" y="6980"/>
                  </a:cubicBezTo>
                  <a:cubicBezTo>
                    <a:pt x="13568" y="7018"/>
                    <a:pt x="13560" y="7054"/>
                    <a:pt x="13542" y="7088"/>
                  </a:cubicBezTo>
                  <a:cubicBezTo>
                    <a:pt x="13514" y="7142"/>
                    <a:pt x="13513" y="7204"/>
                    <a:pt x="13488" y="7259"/>
                  </a:cubicBezTo>
                  <a:cubicBezTo>
                    <a:pt x="13473" y="7292"/>
                    <a:pt x="13491" y="7309"/>
                    <a:pt x="13528" y="7306"/>
                  </a:cubicBezTo>
                  <a:cubicBezTo>
                    <a:pt x="13600" y="7301"/>
                    <a:pt x="13665" y="7274"/>
                    <a:pt x="13726" y="7238"/>
                  </a:cubicBezTo>
                  <a:cubicBezTo>
                    <a:pt x="13777" y="7208"/>
                    <a:pt x="13792" y="7137"/>
                    <a:pt x="13751" y="7092"/>
                  </a:cubicBezTo>
                  <a:cubicBezTo>
                    <a:pt x="13699" y="7035"/>
                    <a:pt x="13685" y="6965"/>
                    <a:pt x="13662" y="6896"/>
                  </a:cubicBezTo>
                  <a:cubicBezTo>
                    <a:pt x="13655" y="6875"/>
                    <a:pt x="13660" y="6856"/>
                    <a:pt x="13683" y="6852"/>
                  </a:cubicBezTo>
                  <a:cubicBezTo>
                    <a:pt x="13726" y="6844"/>
                    <a:pt x="13770" y="6843"/>
                    <a:pt x="13811" y="6864"/>
                  </a:cubicBezTo>
                  <a:cubicBezTo>
                    <a:pt x="13834" y="6876"/>
                    <a:pt x="13841" y="6897"/>
                    <a:pt x="13839" y="6922"/>
                  </a:cubicBezTo>
                  <a:cubicBezTo>
                    <a:pt x="13837" y="6940"/>
                    <a:pt x="13829" y="6958"/>
                    <a:pt x="13841" y="6982"/>
                  </a:cubicBezTo>
                  <a:close/>
                  <a:moveTo>
                    <a:pt x="8718" y="2378"/>
                  </a:moveTo>
                  <a:cubicBezTo>
                    <a:pt x="8715" y="2340"/>
                    <a:pt x="8711" y="2303"/>
                    <a:pt x="8709" y="2265"/>
                  </a:cubicBezTo>
                  <a:cubicBezTo>
                    <a:pt x="8698" y="2076"/>
                    <a:pt x="8612" y="1924"/>
                    <a:pt x="8475" y="1799"/>
                  </a:cubicBezTo>
                  <a:cubicBezTo>
                    <a:pt x="8433" y="1759"/>
                    <a:pt x="8389" y="1721"/>
                    <a:pt x="8351" y="1678"/>
                  </a:cubicBezTo>
                  <a:cubicBezTo>
                    <a:pt x="8316" y="1639"/>
                    <a:pt x="8302" y="1641"/>
                    <a:pt x="8281" y="1688"/>
                  </a:cubicBezTo>
                  <a:cubicBezTo>
                    <a:pt x="8262" y="1732"/>
                    <a:pt x="8232" y="1763"/>
                    <a:pt x="8184" y="1776"/>
                  </a:cubicBezTo>
                  <a:cubicBezTo>
                    <a:pt x="8172" y="1779"/>
                    <a:pt x="8161" y="1784"/>
                    <a:pt x="8150" y="1791"/>
                  </a:cubicBezTo>
                  <a:cubicBezTo>
                    <a:pt x="8117" y="1811"/>
                    <a:pt x="8114" y="1822"/>
                    <a:pt x="8130" y="1857"/>
                  </a:cubicBezTo>
                  <a:cubicBezTo>
                    <a:pt x="8146" y="1889"/>
                    <a:pt x="8166" y="1917"/>
                    <a:pt x="8191" y="1943"/>
                  </a:cubicBezTo>
                  <a:cubicBezTo>
                    <a:pt x="8246" y="2002"/>
                    <a:pt x="8306" y="2058"/>
                    <a:pt x="8350" y="2126"/>
                  </a:cubicBezTo>
                  <a:cubicBezTo>
                    <a:pt x="8396" y="2198"/>
                    <a:pt x="8458" y="2252"/>
                    <a:pt x="8525" y="2301"/>
                  </a:cubicBezTo>
                  <a:cubicBezTo>
                    <a:pt x="8573" y="2335"/>
                    <a:pt x="8618" y="2370"/>
                    <a:pt x="8663" y="2408"/>
                  </a:cubicBezTo>
                  <a:cubicBezTo>
                    <a:pt x="8675" y="2417"/>
                    <a:pt x="8686" y="2437"/>
                    <a:pt x="8705" y="2428"/>
                  </a:cubicBezTo>
                  <a:cubicBezTo>
                    <a:pt x="8727" y="2418"/>
                    <a:pt x="8714" y="2395"/>
                    <a:pt x="8718" y="2378"/>
                  </a:cubicBezTo>
                  <a:close/>
                  <a:moveTo>
                    <a:pt x="9014" y="6176"/>
                  </a:moveTo>
                  <a:cubicBezTo>
                    <a:pt x="9004" y="6201"/>
                    <a:pt x="8997" y="6220"/>
                    <a:pt x="8987" y="6238"/>
                  </a:cubicBezTo>
                  <a:cubicBezTo>
                    <a:pt x="8974" y="6258"/>
                    <a:pt x="8956" y="6257"/>
                    <a:pt x="8945" y="6236"/>
                  </a:cubicBezTo>
                  <a:cubicBezTo>
                    <a:pt x="8936" y="6217"/>
                    <a:pt x="8930" y="6197"/>
                    <a:pt x="8920" y="6179"/>
                  </a:cubicBezTo>
                  <a:cubicBezTo>
                    <a:pt x="8900" y="6139"/>
                    <a:pt x="8876" y="6103"/>
                    <a:pt x="8831" y="6088"/>
                  </a:cubicBezTo>
                  <a:cubicBezTo>
                    <a:pt x="8799" y="6078"/>
                    <a:pt x="8781" y="6091"/>
                    <a:pt x="8787" y="6124"/>
                  </a:cubicBezTo>
                  <a:cubicBezTo>
                    <a:pt x="8797" y="6177"/>
                    <a:pt x="8798" y="6232"/>
                    <a:pt x="8818" y="6283"/>
                  </a:cubicBezTo>
                  <a:cubicBezTo>
                    <a:pt x="8857" y="6384"/>
                    <a:pt x="8832" y="6470"/>
                    <a:pt x="8757" y="6545"/>
                  </a:cubicBezTo>
                  <a:cubicBezTo>
                    <a:pt x="8740" y="6563"/>
                    <a:pt x="8725" y="6583"/>
                    <a:pt x="8708" y="6601"/>
                  </a:cubicBezTo>
                  <a:cubicBezTo>
                    <a:pt x="8685" y="6624"/>
                    <a:pt x="8682" y="6651"/>
                    <a:pt x="8690" y="6682"/>
                  </a:cubicBezTo>
                  <a:cubicBezTo>
                    <a:pt x="8707" y="6747"/>
                    <a:pt x="8725" y="6811"/>
                    <a:pt x="8794" y="6843"/>
                  </a:cubicBezTo>
                  <a:cubicBezTo>
                    <a:pt x="8801" y="6846"/>
                    <a:pt x="8807" y="6853"/>
                    <a:pt x="8813" y="6859"/>
                  </a:cubicBezTo>
                  <a:cubicBezTo>
                    <a:pt x="8876" y="6916"/>
                    <a:pt x="8919" y="6925"/>
                    <a:pt x="8993" y="6888"/>
                  </a:cubicBezTo>
                  <a:cubicBezTo>
                    <a:pt x="9056" y="6856"/>
                    <a:pt x="9120" y="6828"/>
                    <a:pt x="9193" y="6824"/>
                  </a:cubicBezTo>
                  <a:cubicBezTo>
                    <a:pt x="9229" y="6821"/>
                    <a:pt x="9236" y="6798"/>
                    <a:pt x="9213" y="6767"/>
                  </a:cubicBezTo>
                  <a:cubicBezTo>
                    <a:pt x="9201" y="6750"/>
                    <a:pt x="9185" y="6737"/>
                    <a:pt x="9176" y="6717"/>
                  </a:cubicBezTo>
                  <a:cubicBezTo>
                    <a:pt x="9145" y="6648"/>
                    <a:pt x="9088" y="6627"/>
                    <a:pt x="9019" y="6656"/>
                  </a:cubicBezTo>
                  <a:cubicBezTo>
                    <a:pt x="9002" y="6663"/>
                    <a:pt x="8985" y="6673"/>
                    <a:pt x="8968" y="6677"/>
                  </a:cubicBezTo>
                  <a:cubicBezTo>
                    <a:pt x="8908" y="6692"/>
                    <a:pt x="8848" y="6697"/>
                    <a:pt x="8791" y="6671"/>
                  </a:cubicBezTo>
                  <a:cubicBezTo>
                    <a:pt x="8763" y="6658"/>
                    <a:pt x="8759" y="6640"/>
                    <a:pt x="8778" y="6616"/>
                  </a:cubicBezTo>
                  <a:cubicBezTo>
                    <a:pt x="8820" y="6565"/>
                    <a:pt x="8875" y="6532"/>
                    <a:pt x="8934" y="6506"/>
                  </a:cubicBezTo>
                  <a:cubicBezTo>
                    <a:pt x="8960" y="6494"/>
                    <a:pt x="8991" y="6496"/>
                    <a:pt x="9017" y="6514"/>
                  </a:cubicBezTo>
                  <a:cubicBezTo>
                    <a:pt x="9036" y="6527"/>
                    <a:pt x="9055" y="6540"/>
                    <a:pt x="9076" y="6550"/>
                  </a:cubicBezTo>
                  <a:cubicBezTo>
                    <a:pt x="9104" y="6565"/>
                    <a:pt x="9121" y="6555"/>
                    <a:pt x="9120" y="6523"/>
                  </a:cubicBezTo>
                  <a:cubicBezTo>
                    <a:pt x="9118" y="6451"/>
                    <a:pt x="9127" y="6378"/>
                    <a:pt x="9082" y="6313"/>
                  </a:cubicBezTo>
                  <a:cubicBezTo>
                    <a:pt x="9054" y="6273"/>
                    <a:pt x="9048" y="6220"/>
                    <a:pt x="9014" y="6176"/>
                  </a:cubicBezTo>
                  <a:close/>
                  <a:moveTo>
                    <a:pt x="12975" y="10577"/>
                  </a:moveTo>
                  <a:cubicBezTo>
                    <a:pt x="12975" y="10579"/>
                    <a:pt x="12976" y="10592"/>
                    <a:pt x="12975" y="10604"/>
                  </a:cubicBezTo>
                  <a:cubicBezTo>
                    <a:pt x="12974" y="10619"/>
                    <a:pt x="12972" y="10634"/>
                    <a:pt x="12955" y="10640"/>
                  </a:cubicBezTo>
                  <a:cubicBezTo>
                    <a:pt x="12939" y="10646"/>
                    <a:pt x="12928" y="10635"/>
                    <a:pt x="12917" y="10625"/>
                  </a:cubicBezTo>
                  <a:cubicBezTo>
                    <a:pt x="12882" y="10592"/>
                    <a:pt x="12847" y="10560"/>
                    <a:pt x="12830" y="10513"/>
                  </a:cubicBezTo>
                  <a:cubicBezTo>
                    <a:pt x="12824" y="10498"/>
                    <a:pt x="12813" y="10484"/>
                    <a:pt x="12803" y="10471"/>
                  </a:cubicBezTo>
                  <a:cubicBezTo>
                    <a:pt x="12791" y="10456"/>
                    <a:pt x="12774" y="10444"/>
                    <a:pt x="12754" y="10456"/>
                  </a:cubicBezTo>
                  <a:cubicBezTo>
                    <a:pt x="12734" y="10468"/>
                    <a:pt x="12739" y="10488"/>
                    <a:pt x="12748" y="10505"/>
                  </a:cubicBezTo>
                  <a:cubicBezTo>
                    <a:pt x="12765" y="10537"/>
                    <a:pt x="12772" y="10571"/>
                    <a:pt x="12780" y="10606"/>
                  </a:cubicBezTo>
                  <a:cubicBezTo>
                    <a:pt x="12807" y="10721"/>
                    <a:pt x="12829" y="10837"/>
                    <a:pt x="12884" y="10944"/>
                  </a:cubicBezTo>
                  <a:cubicBezTo>
                    <a:pt x="12895" y="10964"/>
                    <a:pt x="12907" y="10984"/>
                    <a:pt x="12914" y="11005"/>
                  </a:cubicBezTo>
                  <a:cubicBezTo>
                    <a:pt x="12949" y="11106"/>
                    <a:pt x="13014" y="11180"/>
                    <a:pt x="13106" y="11233"/>
                  </a:cubicBezTo>
                  <a:cubicBezTo>
                    <a:pt x="13121" y="11242"/>
                    <a:pt x="13135" y="11251"/>
                    <a:pt x="13152" y="11240"/>
                  </a:cubicBezTo>
                  <a:cubicBezTo>
                    <a:pt x="13171" y="11226"/>
                    <a:pt x="13157" y="11212"/>
                    <a:pt x="13151" y="11196"/>
                  </a:cubicBezTo>
                  <a:cubicBezTo>
                    <a:pt x="13130" y="11133"/>
                    <a:pt x="13107" y="11069"/>
                    <a:pt x="13132" y="11002"/>
                  </a:cubicBezTo>
                  <a:cubicBezTo>
                    <a:pt x="13145" y="10966"/>
                    <a:pt x="13138" y="10935"/>
                    <a:pt x="13128" y="10900"/>
                  </a:cubicBezTo>
                  <a:cubicBezTo>
                    <a:pt x="13107" y="10826"/>
                    <a:pt x="13086" y="10751"/>
                    <a:pt x="13133" y="10678"/>
                  </a:cubicBezTo>
                  <a:cubicBezTo>
                    <a:pt x="13142" y="10665"/>
                    <a:pt x="13145" y="10650"/>
                    <a:pt x="13140" y="10636"/>
                  </a:cubicBezTo>
                  <a:cubicBezTo>
                    <a:pt x="13128" y="10600"/>
                    <a:pt x="13118" y="10564"/>
                    <a:pt x="13101" y="10531"/>
                  </a:cubicBezTo>
                  <a:cubicBezTo>
                    <a:pt x="13055" y="10438"/>
                    <a:pt x="12997" y="10352"/>
                    <a:pt x="12927" y="10275"/>
                  </a:cubicBezTo>
                  <a:cubicBezTo>
                    <a:pt x="12896" y="10241"/>
                    <a:pt x="12893" y="10240"/>
                    <a:pt x="12856" y="10265"/>
                  </a:cubicBezTo>
                  <a:cubicBezTo>
                    <a:pt x="12842" y="10275"/>
                    <a:pt x="12830" y="10286"/>
                    <a:pt x="12818" y="10297"/>
                  </a:cubicBezTo>
                  <a:cubicBezTo>
                    <a:pt x="12804" y="10311"/>
                    <a:pt x="12809" y="10323"/>
                    <a:pt x="12822" y="10334"/>
                  </a:cubicBezTo>
                  <a:cubicBezTo>
                    <a:pt x="12834" y="10344"/>
                    <a:pt x="12848" y="10347"/>
                    <a:pt x="12863" y="10347"/>
                  </a:cubicBezTo>
                  <a:cubicBezTo>
                    <a:pt x="12881" y="10348"/>
                    <a:pt x="12895" y="10356"/>
                    <a:pt x="12904" y="10371"/>
                  </a:cubicBezTo>
                  <a:cubicBezTo>
                    <a:pt x="12942" y="10431"/>
                    <a:pt x="12980" y="10491"/>
                    <a:pt x="12975" y="10577"/>
                  </a:cubicBezTo>
                  <a:close/>
                  <a:moveTo>
                    <a:pt x="16348" y="9005"/>
                  </a:moveTo>
                  <a:cubicBezTo>
                    <a:pt x="16338" y="9143"/>
                    <a:pt x="16363" y="9252"/>
                    <a:pt x="16404" y="9358"/>
                  </a:cubicBezTo>
                  <a:cubicBezTo>
                    <a:pt x="16424" y="9410"/>
                    <a:pt x="16433" y="9465"/>
                    <a:pt x="16457" y="9517"/>
                  </a:cubicBezTo>
                  <a:cubicBezTo>
                    <a:pt x="16497" y="9603"/>
                    <a:pt x="16531" y="9693"/>
                    <a:pt x="16543" y="9789"/>
                  </a:cubicBezTo>
                  <a:cubicBezTo>
                    <a:pt x="16549" y="9834"/>
                    <a:pt x="16558" y="9879"/>
                    <a:pt x="16566" y="9924"/>
                  </a:cubicBezTo>
                  <a:cubicBezTo>
                    <a:pt x="16567" y="9935"/>
                    <a:pt x="16572" y="9946"/>
                    <a:pt x="16584" y="9945"/>
                  </a:cubicBezTo>
                  <a:cubicBezTo>
                    <a:pt x="16596" y="9944"/>
                    <a:pt x="16601" y="9934"/>
                    <a:pt x="16603" y="9923"/>
                  </a:cubicBezTo>
                  <a:cubicBezTo>
                    <a:pt x="16605" y="9909"/>
                    <a:pt x="16606" y="9894"/>
                    <a:pt x="16607" y="9879"/>
                  </a:cubicBezTo>
                  <a:cubicBezTo>
                    <a:pt x="16614" y="9807"/>
                    <a:pt x="16606" y="9734"/>
                    <a:pt x="16608" y="9662"/>
                  </a:cubicBezTo>
                  <a:cubicBezTo>
                    <a:pt x="16611" y="9555"/>
                    <a:pt x="16612" y="9446"/>
                    <a:pt x="16658" y="9344"/>
                  </a:cubicBezTo>
                  <a:cubicBezTo>
                    <a:pt x="16680" y="9294"/>
                    <a:pt x="16671" y="9238"/>
                    <a:pt x="16672" y="9184"/>
                  </a:cubicBezTo>
                  <a:cubicBezTo>
                    <a:pt x="16674" y="9096"/>
                    <a:pt x="16639" y="9023"/>
                    <a:pt x="16583" y="8959"/>
                  </a:cubicBezTo>
                  <a:cubicBezTo>
                    <a:pt x="16562" y="8935"/>
                    <a:pt x="16546" y="8938"/>
                    <a:pt x="16542" y="8969"/>
                  </a:cubicBezTo>
                  <a:cubicBezTo>
                    <a:pt x="16538" y="8998"/>
                    <a:pt x="16527" y="9020"/>
                    <a:pt x="16506" y="9039"/>
                  </a:cubicBezTo>
                  <a:cubicBezTo>
                    <a:pt x="16480" y="9062"/>
                    <a:pt x="16443" y="9070"/>
                    <a:pt x="16417" y="9094"/>
                  </a:cubicBezTo>
                  <a:cubicBezTo>
                    <a:pt x="16414" y="9097"/>
                    <a:pt x="16405" y="9096"/>
                    <a:pt x="16400" y="9093"/>
                  </a:cubicBezTo>
                  <a:cubicBezTo>
                    <a:pt x="16391" y="9088"/>
                    <a:pt x="16390" y="9079"/>
                    <a:pt x="16395" y="9072"/>
                  </a:cubicBezTo>
                  <a:cubicBezTo>
                    <a:pt x="16422" y="9035"/>
                    <a:pt x="16417" y="8993"/>
                    <a:pt x="16417" y="8951"/>
                  </a:cubicBezTo>
                  <a:cubicBezTo>
                    <a:pt x="16417" y="8926"/>
                    <a:pt x="16420" y="8903"/>
                    <a:pt x="16430" y="8879"/>
                  </a:cubicBezTo>
                  <a:cubicBezTo>
                    <a:pt x="16457" y="8818"/>
                    <a:pt x="16453" y="8811"/>
                    <a:pt x="16394" y="8786"/>
                  </a:cubicBezTo>
                  <a:cubicBezTo>
                    <a:pt x="16350" y="8767"/>
                    <a:pt x="16339" y="8774"/>
                    <a:pt x="16340" y="8823"/>
                  </a:cubicBezTo>
                  <a:cubicBezTo>
                    <a:pt x="16340" y="8892"/>
                    <a:pt x="16354" y="8960"/>
                    <a:pt x="16348" y="9005"/>
                  </a:cubicBezTo>
                  <a:close/>
                  <a:moveTo>
                    <a:pt x="14440" y="6139"/>
                  </a:moveTo>
                  <a:cubicBezTo>
                    <a:pt x="14429" y="6137"/>
                    <a:pt x="14421" y="6136"/>
                    <a:pt x="14412" y="6135"/>
                  </a:cubicBezTo>
                  <a:cubicBezTo>
                    <a:pt x="14396" y="6133"/>
                    <a:pt x="14378" y="6126"/>
                    <a:pt x="14368" y="6145"/>
                  </a:cubicBezTo>
                  <a:cubicBezTo>
                    <a:pt x="14360" y="6162"/>
                    <a:pt x="14375" y="6171"/>
                    <a:pt x="14383" y="6183"/>
                  </a:cubicBezTo>
                  <a:cubicBezTo>
                    <a:pt x="14402" y="6210"/>
                    <a:pt x="14396" y="6230"/>
                    <a:pt x="14361" y="6235"/>
                  </a:cubicBezTo>
                  <a:cubicBezTo>
                    <a:pt x="14291" y="6245"/>
                    <a:pt x="14221" y="6279"/>
                    <a:pt x="14148" y="6245"/>
                  </a:cubicBezTo>
                  <a:cubicBezTo>
                    <a:pt x="14130" y="6237"/>
                    <a:pt x="14110" y="6235"/>
                    <a:pt x="14094" y="6249"/>
                  </a:cubicBezTo>
                  <a:cubicBezTo>
                    <a:pt x="14066" y="6274"/>
                    <a:pt x="14034" y="6292"/>
                    <a:pt x="14002" y="6311"/>
                  </a:cubicBezTo>
                  <a:cubicBezTo>
                    <a:pt x="13983" y="6322"/>
                    <a:pt x="13977" y="6340"/>
                    <a:pt x="14002" y="6354"/>
                  </a:cubicBezTo>
                  <a:cubicBezTo>
                    <a:pt x="14058" y="6387"/>
                    <a:pt x="14084" y="6440"/>
                    <a:pt x="14103" y="6499"/>
                  </a:cubicBezTo>
                  <a:cubicBezTo>
                    <a:pt x="14105" y="6503"/>
                    <a:pt x="14106" y="6507"/>
                    <a:pt x="14107" y="6511"/>
                  </a:cubicBezTo>
                  <a:cubicBezTo>
                    <a:pt x="14115" y="6536"/>
                    <a:pt x="14129" y="6549"/>
                    <a:pt x="14158" y="6540"/>
                  </a:cubicBezTo>
                  <a:cubicBezTo>
                    <a:pt x="14180" y="6534"/>
                    <a:pt x="14203" y="6530"/>
                    <a:pt x="14226" y="6528"/>
                  </a:cubicBezTo>
                  <a:cubicBezTo>
                    <a:pt x="14270" y="6522"/>
                    <a:pt x="14276" y="6528"/>
                    <a:pt x="14277" y="6571"/>
                  </a:cubicBezTo>
                  <a:cubicBezTo>
                    <a:pt x="14279" y="6614"/>
                    <a:pt x="14289" y="6620"/>
                    <a:pt x="14324" y="6597"/>
                  </a:cubicBezTo>
                  <a:cubicBezTo>
                    <a:pt x="14371" y="6565"/>
                    <a:pt x="14417" y="6551"/>
                    <a:pt x="14470" y="6579"/>
                  </a:cubicBezTo>
                  <a:cubicBezTo>
                    <a:pt x="14474" y="6581"/>
                    <a:pt x="14478" y="6582"/>
                    <a:pt x="14482" y="6583"/>
                  </a:cubicBezTo>
                  <a:cubicBezTo>
                    <a:pt x="14494" y="6587"/>
                    <a:pt x="14508" y="6590"/>
                    <a:pt x="14515" y="6577"/>
                  </a:cubicBezTo>
                  <a:cubicBezTo>
                    <a:pt x="14523" y="6563"/>
                    <a:pt x="14511" y="6554"/>
                    <a:pt x="14501" y="6547"/>
                  </a:cubicBezTo>
                  <a:cubicBezTo>
                    <a:pt x="14460" y="6520"/>
                    <a:pt x="14416" y="6502"/>
                    <a:pt x="14367" y="6499"/>
                  </a:cubicBezTo>
                  <a:cubicBezTo>
                    <a:pt x="14349" y="6498"/>
                    <a:pt x="14328" y="6500"/>
                    <a:pt x="14312" y="6489"/>
                  </a:cubicBezTo>
                  <a:cubicBezTo>
                    <a:pt x="14263" y="6456"/>
                    <a:pt x="14208" y="6439"/>
                    <a:pt x="14148" y="6438"/>
                  </a:cubicBezTo>
                  <a:cubicBezTo>
                    <a:pt x="14140" y="6437"/>
                    <a:pt x="14131" y="6435"/>
                    <a:pt x="14127" y="6428"/>
                  </a:cubicBezTo>
                  <a:cubicBezTo>
                    <a:pt x="14122" y="6416"/>
                    <a:pt x="14130" y="6408"/>
                    <a:pt x="14138" y="6401"/>
                  </a:cubicBezTo>
                  <a:cubicBezTo>
                    <a:pt x="14201" y="6342"/>
                    <a:pt x="14275" y="6329"/>
                    <a:pt x="14357" y="6351"/>
                  </a:cubicBezTo>
                  <a:cubicBezTo>
                    <a:pt x="14378" y="6356"/>
                    <a:pt x="14399" y="6368"/>
                    <a:pt x="14407" y="6386"/>
                  </a:cubicBezTo>
                  <a:cubicBezTo>
                    <a:pt x="14434" y="6451"/>
                    <a:pt x="14502" y="6470"/>
                    <a:pt x="14547" y="6515"/>
                  </a:cubicBezTo>
                  <a:cubicBezTo>
                    <a:pt x="14556" y="6524"/>
                    <a:pt x="14569" y="6528"/>
                    <a:pt x="14581" y="6521"/>
                  </a:cubicBezTo>
                  <a:cubicBezTo>
                    <a:pt x="14595" y="6512"/>
                    <a:pt x="14588" y="6499"/>
                    <a:pt x="14583" y="6488"/>
                  </a:cubicBezTo>
                  <a:cubicBezTo>
                    <a:pt x="14568" y="6455"/>
                    <a:pt x="14567" y="6420"/>
                    <a:pt x="14570" y="6384"/>
                  </a:cubicBezTo>
                  <a:cubicBezTo>
                    <a:pt x="14577" y="6319"/>
                    <a:pt x="14583" y="6316"/>
                    <a:pt x="14639" y="6351"/>
                  </a:cubicBezTo>
                  <a:cubicBezTo>
                    <a:pt x="14641" y="6353"/>
                    <a:pt x="14642" y="6354"/>
                    <a:pt x="14644" y="6355"/>
                  </a:cubicBezTo>
                  <a:cubicBezTo>
                    <a:pt x="14663" y="6368"/>
                    <a:pt x="14680" y="6366"/>
                    <a:pt x="14689" y="6344"/>
                  </a:cubicBezTo>
                  <a:cubicBezTo>
                    <a:pt x="14704" y="6309"/>
                    <a:pt x="14717" y="6274"/>
                    <a:pt x="14731" y="6239"/>
                  </a:cubicBezTo>
                  <a:cubicBezTo>
                    <a:pt x="14746" y="6199"/>
                    <a:pt x="14739" y="6162"/>
                    <a:pt x="14719" y="6125"/>
                  </a:cubicBezTo>
                  <a:cubicBezTo>
                    <a:pt x="14695" y="6081"/>
                    <a:pt x="14664" y="6070"/>
                    <a:pt x="14622" y="6097"/>
                  </a:cubicBezTo>
                  <a:cubicBezTo>
                    <a:pt x="14565" y="6135"/>
                    <a:pt x="14502" y="6138"/>
                    <a:pt x="14440" y="6139"/>
                  </a:cubicBezTo>
                  <a:close/>
                  <a:moveTo>
                    <a:pt x="17259" y="10324"/>
                  </a:moveTo>
                  <a:cubicBezTo>
                    <a:pt x="17296" y="10325"/>
                    <a:pt x="17305" y="10318"/>
                    <a:pt x="17307" y="10286"/>
                  </a:cubicBezTo>
                  <a:cubicBezTo>
                    <a:pt x="17308" y="10263"/>
                    <a:pt x="17310" y="10241"/>
                    <a:pt x="17316" y="10219"/>
                  </a:cubicBezTo>
                  <a:cubicBezTo>
                    <a:pt x="17327" y="10181"/>
                    <a:pt x="17321" y="10166"/>
                    <a:pt x="17284" y="10163"/>
                  </a:cubicBezTo>
                  <a:cubicBezTo>
                    <a:pt x="17234" y="10158"/>
                    <a:pt x="17213" y="10128"/>
                    <a:pt x="17192" y="10090"/>
                  </a:cubicBezTo>
                  <a:cubicBezTo>
                    <a:pt x="17174" y="10057"/>
                    <a:pt x="17169" y="10019"/>
                    <a:pt x="17146" y="9988"/>
                  </a:cubicBezTo>
                  <a:cubicBezTo>
                    <a:pt x="17114" y="9946"/>
                    <a:pt x="17101" y="9936"/>
                    <a:pt x="17052" y="9955"/>
                  </a:cubicBezTo>
                  <a:cubicBezTo>
                    <a:pt x="16970" y="9985"/>
                    <a:pt x="16892" y="10022"/>
                    <a:pt x="16820" y="10072"/>
                  </a:cubicBezTo>
                  <a:cubicBezTo>
                    <a:pt x="16746" y="10123"/>
                    <a:pt x="16704" y="10202"/>
                    <a:pt x="16638" y="10259"/>
                  </a:cubicBezTo>
                  <a:cubicBezTo>
                    <a:pt x="16629" y="10268"/>
                    <a:pt x="16623" y="10280"/>
                    <a:pt x="16631" y="10293"/>
                  </a:cubicBezTo>
                  <a:cubicBezTo>
                    <a:pt x="16637" y="10305"/>
                    <a:pt x="16650" y="10307"/>
                    <a:pt x="16663" y="10308"/>
                  </a:cubicBezTo>
                  <a:cubicBezTo>
                    <a:pt x="16719" y="10309"/>
                    <a:pt x="16775" y="10305"/>
                    <a:pt x="16831" y="10312"/>
                  </a:cubicBezTo>
                  <a:cubicBezTo>
                    <a:pt x="16872" y="10316"/>
                    <a:pt x="16913" y="10323"/>
                    <a:pt x="16954" y="10316"/>
                  </a:cubicBezTo>
                  <a:cubicBezTo>
                    <a:pt x="17010" y="10306"/>
                    <a:pt x="17066" y="10308"/>
                    <a:pt x="17122" y="10308"/>
                  </a:cubicBezTo>
                  <a:cubicBezTo>
                    <a:pt x="17170" y="10307"/>
                    <a:pt x="17217" y="10312"/>
                    <a:pt x="17259" y="10324"/>
                  </a:cubicBezTo>
                  <a:close/>
                  <a:moveTo>
                    <a:pt x="17081" y="7568"/>
                  </a:moveTo>
                  <a:cubicBezTo>
                    <a:pt x="17081" y="7587"/>
                    <a:pt x="17081" y="7606"/>
                    <a:pt x="17081" y="7625"/>
                  </a:cubicBezTo>
                  <a:cubicBezTo>
                    <a:pt x="17081" y="7637"/>
                    <a:pt x="17082" y="7651"/>
                    <a:pt x="17097" y="7656"/>
                  </a:cubicBezTo>
                  <a:cubicBezTo>
                    <a:pt x="17111" y="7661"/>
                    <a:pt x="17120" y="7650"/>
                    <a:pt x="17127" y="7639"/>
                  </a:cubicBezTo>
                  <a:cubicBezTo>
                    <a:pt x="17155" y="7596"/>
                    <a:pt x="17185" y="7554"/>
                    <a:pt x="17233" y="7529"/>
                  </a:cubicBezTo>
                  <a:cubicBezTo>
                    <a:pt x="17274" y="7508"/>
                    <a:pt x="17288" y="7474"/>
                    <a:pt x="17274" y="7430"/>
                  </a:cubicBezTo>
                  <a:cubicBezTo>
                    <a:pt x="17262" y="7390"/>
                    <a:pt x="17275" y="7357"/>
                    <a:pt x="17293" y="7323"/>
                  </a:cubicBezTo>
                  <a:cubicBezTo>
                    <a:pt x="17332" y="7250"/>
                    <a:pt x="17402" y="7217"/>
                    <a:pt x="17472" y="7184"/>
                  </a:cubicBezTo>
                  <a:cubicBezTo>
                    <a:pt x="17529" y="7157"/>
                    <a:pt x="17539" y="7136"/>
                    <a:pt x="17505" y="7085"/>
                  </a:cubicBezTo>
                  <a:cubicBezTo>
                    <a:pt x="17466" y="7028"/>
                    <a:pt x="17425" y="6973"/>
                    <a:pt x="17401" y="6908"/>
                  </a:cubicBezTo>
                  <a:cubicBezTo>
                    <a:pt x="17389" y="6878"/>
                    <a:pt x="17357" y="6862"/>
                    <a:pt x="17330" y="6871"/>
                  </a:cubicBezTo>
                  <a:cubicBezTo>
                    <a:pt x="17308" y="6878"/>
                    <a:pt x="17273" y="6877"/>
                    <a:pt x="17269" y="6905"/>
                  </a:cubicBezTo>
                  <a:cubicBezTo>
                    <a:pt x="17266" y="6929"/>
                    <a:pt x="17299" y="6931"/>
                    <a:pt x="17315" y="6940"/>
                  </a:cubicBezTo>
                  <a:cubicBezTo>
                    <a:pt x="17385" y="6974"/>
                    <a:pt x="17414" y="7032"/>
                    <a:pt x="17424" y="7103"/>
                  </a:cubicBezTo>
                  <a:cubicBezTo>
                    <a:pt x="17429" y="7132"/>
                    <a:pt x="17413" y="7141"/>
                    <a:pt x="17387" y="7127"/>
                  </a:cubicBezTo>
                  <a:cubicBezTo>
                    <a:pt x="17305" y="7086"/>
                    <a:pt x="17232" y="7033"/>
                    <a:pt x="17163" y="6974"/>
                  </a:cubicBezTo>
                  <a:cubicBezTo>
                    <a:pt x="17134" y="6949"/>
                    <a:pt x="17105" y="6941"/>
                    <a:pt x="17071" y="6955"/>
                  </a:cubicBezTo>
                  <a:cubicBezTo>
                    <a:pt x="17041" y="6967"/>
                    <a:pt x="17019" y="7009"/>
                    <a:pt x="17021" y="7043"/>
                  </a:cubicBezTo>
                  <a:cubicBezTo>
                    <a:pt x="17022" y="7063"/>
                    <a:pt x="17037" y="7073"/>
                    <a:pt x="17056" y="7064"/>
                  </a:cubicBezTo>
                  <a:cubicBezTo>
                    <a:pt x="17065" y="7060"/>
                    <a:pt x="17072" y="7052"/>
                    <a:pt x="17081" y="7047"/>
                  </a:cubicBezTo>
                  <a:cubicBezTo>
                    <a:pt x="17120" y="7022"/>
                    <a:pt x="17168" y="7026"/>
                    <a:pt x="17202" y="7055"/>
                  </a:cubicBezTo>
                  <a:cubicBezTo>
                    <a:pt x="17216" y="7067"/>
                    <a:pt x="17225" y="7082"/>
                    <a:pt x="17203" y="7095"/>
                  </a:cubicBezTo>
                  <a:cubicBezTo>
                    <a:pt x="17157" y="7122"/>
                    <a:pt x="17126" y="7170"/>
                    <a:pt x="17071" y="7185"/>
                  </a:cubicBezTo>
                  <a:cubicBezTo>
                    <a:pt x="17048" y="7191"/>
                    <a:pt x="17038" y="7209"/>
                    <a:pt x="17046" y="7234"/>
                  </a:cubicBezTo>
                  <a:cubicBezTo>
                    <a:pt x="17050" y="7246"/>
                    <a:pt x="17053" y="7258"/>
                    <a:pt x="17056" y="7270"/>
                  </a:cubicBezTo>
                  <a:cubicBezTo>
                    <a:pt x="17058" y="7282"/>
                    <a:pt x="17058" y="7298"/>
                    <a:pt x="17072" y="7302"/>
                  </a:cubicBezTo>
                  <a:cubicBezTo>
                    <a:pt x="17085" y="7305"/>
                    <a:pt x="17097" y="7296"/>
                    <a:pt x="17102" y="7285"/>
                  </a:cubicBezTo>
                  <a:cubicBezTo>
                    <a:pt x="17131" y="7227"/>
                    <a:pt x="17179" y="7237"/>
                    <a:pt x="17227" y="7248"/>
                  </a:cubicBezTo>
                  <a:cubicBezTo>
                    <a:pt x="17257" y="7254"/>
                    <a:pt x="17265" y="7272"/>
                    <a:pt x="17249" y="7297"/>
                  </a:cubicBezTo>
                  <a:cubicBezTo>
                    <a:pt x="17227" y="7330"/>
                    <a:pt x="17204" y="7365"/>
                    <a:pt x="17165" y="7378"/>
                  </a:cubicBezTo>
                  <a:cubicBezTo>
                    <a:pt x="17112" y="7397"/>
                    <a:pt x="17094" y="7437"/>
                    <a:pt x="17085" y="7487"/>
                  </a:cubicBezTo>
                  <a:cubicBezTo>
                    <a:pt x="17080" y="7515"/>
                    <a:pt x="17085" y="7542"/>
                    <a:pt x="17081" y="7568"/>
                  </a:cubicBezTo>
                  <a:close/>
                  <a:moveTo>
                    <a:pt x="15027" y="15473"/>
                  </a:moveTo>
                  <a:cubicBezTo>
                    <a:pt x="15007" y="15418"/>
                    <a:pt x="15014" y="15353"/>
                    <a:pt x="14985" y="15295"/>
                  </a:cubicBezTo>
                  <a:cubicBezTo>
                    <a:pt x="14961" y="15247"/>
                    <a:pt x="14946" y="15195"/>
                    <a:pt x="14942" y="15140"/>
                  </a:cubicBezTo>
                  <a:cubicBezTo>
                    <a:pt x="14940" y="15106"/>
                    <a:pt x="14932" y="15074"/>
                    <a:pt x="14920" y="15043"/>
                  </a:cubicBezTo>
                  <a:cubicBezTo>
                    <a:pt x="14906" y="15007"/>
                    <a:pt x="14854" y="14981"/>
                    <a:pt x="14830" y="14998"/>
                  </a:cubicBezTo>
                  <a:cubicBezTo>
                    <a:pt x="14801" y="15018"/>
                    <a:pt x="14772" y="15044"/>
                    <a:pt x="14777" y="15084"/>
                  </a:cubicBezTo>
                  <a:cubicBezTo>
                    <a:pt x="14786" y="15143"/>
                    <a:pt x="14761" y="15183"/>
                    <a:pt x="14718" y="15219"/>
                  </a:cubicBezTo>
                  <a:cubicBezTo>
                    <a:pt x="14704" y="15231"/>
                    <a:pt x="14692" y="15245"/>
                    <a:pt x="14679" y="15259"/>
                  </a:cubicBezTo>
                  <a:cubicBezTo>
                    <a:pt x="14669" y="15270"/>
                    <a:pt x="14664" y="15283"/>
                    <a:pt x="14669" y="15299"/>
                  </a:cubicBezTo>
                  <a:cubicBezTo>
                    <a:pt x="14693" y="15384"/>
                    <a:pt x="14706" y="15474"/>
                    <a:pt x="14742" y="15556"/>
                  </a:cubicBezTo>
                  <a:cubicBezTo>
                    <a:pt x="14763" y="15603"/>
                    <a:pt x="14777" y="15654"/>
                    <a:pt x="14810" y="15694"/>
                  </a:cubicBezTo>
                  <a:cubicBezTo>
                    <a:pt x="14828" y="15716"/>
                    <a:pt x="14849" y="15712"/>
                    <a:pt x="14856" y="15686"/>
                  </a:cubicBezTo>
                  <a:cubicBezTo>
                    <a:pt x="14861" y="15664"/>
                    <a:pt x="14864" y="15641"/>
                    <a:pt x="14871" y="15619"/>
                  </a:cubicBezTo>
                  <a:cubicBezTo>
                    <a:pt x="14889" y="15563"/>
                    <a:pt x="14897" y="15506"/>
                    <a:pt x="14877" y="15448"/>
                  </a:cubicBezTo>
                  <a:cubicBezTo>
                    <a:pt x="14874" y="15438"/>
                    <a:pt x="14873" y="15427"/>
                    <a:pt x="14871" y="15417"/>
                  </a:cubicBezTo>
                  <a:cubicBezTo>
                    <a:pt x="14868" y="15404"/>
                    <a:pt x="14869" y="15391"/>
                    <a:pt x="14884" y="15387"/>
                  </a:cubicBezTo>
                  <a:cubicBezTo>
                    <a:pt x="14898" y="15382"/>
                    <a:pt x="14907" y="15392"/>
                    <a:pt x="14914" y="15403"/>
                  </a:cubicBezTo>
                  <a:cubicBezTo>
                    <a:pt x="14921" y="15416"/>
                    <a:pt x="14927" y="15429"/>
                    <a:pt x="14935" y="15442"/>
                  </a:cubicBezTo>
                  <a:cubicBezTo>
                    <a:pt x="14949" y="15465"/>
                    <a:pt x="14968" y="15484"/>
                    <a:pt x="14990" y="15499"/>
                  </a:cubicBezTo>
                  <a:cubicBezTo>
                    <a:pt x="15009" y="15512"/>
                    <a:pt x="15028" y="15499"/>
                    <a:pt x="15027" y="15473"/>
                  </a:cubicBezTo>
                  <a:close/>
                  <a:moveTo>
                    <a:pt x="14513" y="7129"/>
                  </a:moveTo>
                  <a:cubicBezTo>
                    <a:pt x="14341" y="7120"/>
                    <a:pt x="14193" y="7190"/>
                    <a:pt x="14047" y="7266"/>
                  </a:cubicBezTo>
                  <a:cubicBezTo>
                    <a:pt x="14026" y="7276"/>
                    <a:pt x="14026" y="7297"/>
                    <a:pt x="14047" y="7309"/>
                  </a:cubicBezTo>
                  <a:cubicBezTo>
                    <a:pt x="14067" y="7320"/>
                    <a:pt x="14089" y="7327"/>
                    <a:pt x="14108" y="7339"/>
                  </a:cubicBezTo>
                  <a:cubicBezTo>
                    <a:pt x="14132" y="7353"/>
                    <a:pt x="14154" y="7354"/>
                    <a:pt x="14178" y="7338"/>
                  </a:cubicBezTo>
                  <a:cubicBezTo>
                    <a:pt x="14192" y="7329"/>
                    <a:pt x="14209" y="7326"/>
                    <a:pt x="14223" y="7317"/>
                  </a:cubicBezTo>
                  <a:cubicBezTo>
                    <a:pt x="14308" y="7257"/>
                    <a:pt x="14380" y="7304"/>
                    <a:pt x="14453" y="7345"/>
                  </a:cubicBezTo>
                  <a:cubicBezTo>
                    <a:pt x="14464" y="7352"/>
                    <a:pt x="14474" y="7364"/>
                    <a:pt x="14464" y="7376"/>
                  </a:cubicBezTo>
                  <a:cubicBezTo>
                    <a:pt x="14442" y="7402"/>
                    <a:pt x="14426" y="7436"/>
                    <a:pt x="14383" y="7438"/>
                  </a:cubicBezTo>
                  <a:cubicBezTo>
                    <a:pt x="14353" y="7440"/>
                    <a:pt x="14321" y="7444"/>
                    <a:pt x="14291" y="7451"/>
                  </a:cubicBezTo>
                  <a:cubicBezTo>
                    <a:pt x="14265" y="7457"/>
                    <a:pt x="14261" y="7481"/>
                    <a:pt x="14283" y="7496"/>
                  </a:cubicBezTo>
                  <a:cubicBezTo>
                    <a:pt x="14331" y="7530"/>
                    <a:pt x="14380" y="7561"/>
                    <a:pt x="14444" y="7548"/>
                  </a:cubicBezTo>
                  <a:cubicBezTo>
                    <a:pt x="14462" y="7544"/>
                    <a:pt x="14481" y="7540"/>
                    <a:pt x="14499" y="7540"/>
                  </a:cubicBezTo>
                  <a:cubicBezTo>
                    <a:pt x="14532" y="7540"/>
                    <a:pt x="14549" y="7524"/>
                    <a:pt x="14557" y="7495"/>
                  </a:cubicBezTo>
                  <a:cubicBezTo>
                    <a:pt x="14561" y="7479"/>
                    <a:pt x="14566" y="7463"/>
                    <a:pt x="14569" y="7447"/>
                  </a:cubicBezTo>
                  <a:cubicBezTo>
                    <a:pt x="14583" y="7375"/>
                    <a:pt x="14574" y="7301"/>
                    <a:pt x="14597" y="7231"/>
                  </a:cubicBezTo>
                  <a:cubicBezTo>
                    <a:pt x="14600" y="7222"/>
                    <a:pt x="14597" y="7210"/>
                    <a:pt x="14595" y="7200"/>
                  </a:cubicBezTo>
                  <a:cubicBezTo>
                    <a:pt x="14589" y="7137"/>
                    <a:pt x="14577" y="7127"/>
                    <a:pt x="14513" y="7129"/>
                  </a:cubicBezTo>
                  <a:close/>
                  <a:moveTo>
                    <a:pt x="16608" y="1749"/>
                  </a:moveTo>
                  <a:cubicBezTo>
                    <a:pt x="16597" y="1637"/>
                    <a:pt x="16672" y="1569"/>
                    <a:pt x="16702" y="1485"/>
                  </a:cubicBezTo>
                  <a:cubicBezTo>
                    <a:pt x="16707" y="1470"/>
                    <a:pt x="16727" y="1470"/>
                    <a:pt x="16739" y="1483"/>
                  </a:cubicBezTo>
                  <a:cubicBezTo>
                    <a:pt x="16774" y="1522"/>
                    <a:pt x="16787" y="1570"/>
                    <a:pt x="16795" y="1619"/>
                  </a:cubicBezTo>
                  <a:cubicBezTo>
                    <a:pt x="16802" y="1656"/>
                    <a:pt x="16773" y="1670"/>
                    <a:pt x="16752" y="1688"/>
                  </a:cubicBezTo>
                  <a:cubicBezTo>
                    <a:pt x="16743" y="1696"/>
                    <a:pt x="16736" y="1705"/>
                    <a:pt x="16742" y="1715"/>
                  </a:cubicBezTo>
                  <a:cubicBezTo>
                    <a:pt x="16750" y="1729"/>
                    <a:pt x="16764" y="1726"/>
                    <a:pt x="16775" y="1720"/>
                  </a:cubicBezTo>
                  <a:cubicBezTo>
                    <a:pt x="16819" y="1694"/>
                    <a:pt x="16855" y="1660"/>
                    <a:pt x="16885" y="1620"/>
                  </a:cubicBezTo>
                  <a:cubicBezTo>
                    <a:pt x="16900" y="1600"/>
                    <a:pt x="16898" y="1576"/>
                    <a:pt x="16889" y="1554"/>
                  </a:cubicBezTo>
                  <a:cubicBezTo>
                    <a:pt x="16874" y="1518"/>
                    <a:pt x="16858" y="1482"/>
                    <a:pt x="16842" y="1446"/>
                  </a:cubicBezTo>
                  <a:cubicBezTo>
                    <a:pt x="16834" y="1428"/>
                    <a:pt x="16819" y="1423"/>
                    <a:pt x="16801" y="1428"/>
                  </a:cubicBezTo>
                  <a:cubicBezTo>
                    <a:pt x="16759" y="1440"/>
                    <a:pt x="16719" y="1433"/>
                    <a:pt x="16679" y="1417"/>
                  </a:cubicBezTo>
                  <a:cubicBezTo>
                    <a:pt x="16638" y="1402"/>
                    <a:pt x="16591" y="1422"/>
                    <a:pt x="16578" y="1464"/>
                  </a:cubicBezTo>
                  <a:cubicBezTo>
                    <a:pt x="16563" y="1515"/>
                    <a:pt x="16526" y="1548"/>
                    <a:pt x="16494" y="1585"/>
                  </a:cubicBezTo>
                  <a:cubicBezTo>
                    <a:pt x="16468" y="1617"/>
                    <a:pt x="16436" y="1643"/>
                    <a:pt x="16414" y="1680"/>
                  </a:cubicBezTo>
                  <a:cubicBezTo>
                    <a:pt x="16374" y="1746"/>
                    <a:pt x="16358" y="1822"/>
                    <a:pt x="16321" y="1890"/>
                  </a:cubicBezTo>
                  <a:cubicBezTo>
                    <a:pt x="16319" y="1894"/>
                    <a:pt x="16319" y="1898"/>
                    <a:pt x="16318" y="1902"/>
                  </a:cubicBezTo>
                  <a:cubicBezTo>
                    <a:pt x="16315" y="1926"/>
                    <a:pt x="16325" y="1938"/>
                    <a:pt x="16349" y="1935"/>
                  </a:cubicBezTo>
                  <a:cubicBezTo>
                    <a:pt x="16418" y="1927"/>
                    <a:pt x="16482" y="1906"/>
                    <a:pt x="16540" y="1865"/>
                  </a:cubicBezTo>
                  <a:cubicBezTo>
                    <a:pt x="16585" y="1833"/>
                    <a:pt x="16620" y="1798"/>
                    <a:pt x="16608" y="1749"/>
                  </a:cubicBezTo>
                  <a:close/>
                  <a:moveTo>
                    <a:pt x="13950" y="7016"/>
                  </a:moveTo>
                  <a:cubicBezTo>
                    <a:pt x="13998" y="7012"/>
                    <a:pt x="14044" y="7009"/>
                    <a:pt x="14091" y="7024"/>
                  </a:cubicBezTo>
                  <a:cubicBezTo>
                    <a:pt x="14144" y="7040"/>
                    <a:pt x="14198" y="7032"/>
                    <a:pt x="14250" y="7017"/>
                  </a:cubicBezTo>
                  <a:cubicBezTo>
                    <a:pt x="14340" y="6992"/>
                    <a:pt x="14432" y="6975"/>
                    <a:pt x="14524" y="6957"/>
                  </a:cubicBezTo>
                  <a:cubicBezTo>
                    <a:pt x="14575" y="6946"/>
                    <a:pt x="14587" y="6941"/>
                    <a:pt x="14597" y="6888"/>
                  </a:cubicBezTo>
                  <a:cubicBezTo>
                    <a:pt x="14607" y="6841"/>
                    <a:pt x="14612" y="6794"/>
                    <a:pt x="14615" y="6746"/>
                  </a:cubicBezTo>
                  <a:cubicBezTo>
                    <a:pt x="14617" y="6720"/>
                    <a:pt x="14598" y="6704"/>
                    <a:pt x="14573" y="6700"/>
                  </a:cubicBezTo>
                  <a:cubicBezTo>
                    <a:pt x="14547" y="6695"/>
                    <a:pt x="14519" y="6690"/>
                    <a:pt x="14493" y="6701"/>
                  </a:cubicBezTo>
                  <a:cubicBezTo>
                    <a:pt x="14479" y="6707"/>
                    <a:pt x="14466" y="6709"/>
                    <a:pt x="14451" y="6709"/>
                  </a:cubicBezTo>
                  <a:cubicBezTo>
                    <a:pt x="14398" y="6711"/>
                    <a:pt x="14349" y="6708"/>
                    <a:pt x="14305" y="6670"/>
                  </a:cubicBezTo>
                  <a:cubicBezTo>
                    <a:pt x="14280" y="6648"/>
                    <a:pt x="14262" y="6655"/>
                    <a:pt x="14255" y="6685"/>
                  </a:cubicBezTo>
                  <a:cubicBezTo>
                    <a:pt x="14246" y="6721"/>
                    <a:pt x="14227" y="6743"/>
                    <a:pt x="14191" y="6754"/>
                  </a:cubicBezTo>
                  <a:cubicBezTo>
                    <a:pt x="14170" y="6761"/>
                    <a:pt x="14152" y="6777"/>
                    <a:pt x="14133" y="6790"/>
                  </a:cubicBezTo>
                  <a:cubicBezTo>
                    <a:pt x="14125" y="6796"/>
                    <a:pt x="14119" y="6806"/>
                    <a:pt x="14126" y="6817"/>
                  </a:cubicBezTo>
                  <a:cubicBezTo>
                    <a:pt x="14132" y="6826"/>
                    <a:pt x="14141" y="6822"/>
                    <a:pt x="14149" y="6819"/>
                  </a:cubicBezTo>
                  <a:cubicBezTo>
                    <a:pt x="14214" y="6790"/>
                    <a:pt x="14266" y="6827"/>
                    <a:pt x="14317" y="6856"/>
                  </a:cubicBezTo>
                  <a:cubicBezTo>
                    <a:pt x="14360" y="6882"/>
                    <a:pt x="14356" y="6913"/>
                    <a:pt x="14310" y="6933"/>
                  </a:cubicBezTo>
                  <a:cubicBezTo>
                    <a:pt x="14280" y="6946"/>
                    <a:pt x="14246" y="6951"/>
                    <a:pt x="14216" y="6964"/>
                  </a:cubicBezTo>
                  <a:cubicBezTo>
                    <a:pt x="14183" y="6978"/>
                    <a:pt x="14151" y="6977"/>
                    <a:pt x="14118" y="6969"/>
                  </a:cubicBezTo>
                  <a:cubicBezTo>
                    <a:pt x="14094" y="6964"/>
                    <a:pt x="14070" y="6957"/>
                    <a:pt x="14045" y="6951"/>
                  </a:cubicBezTo>
                  <a:cubicBezTo>
                    <a:pt x="13989" y="6935"/>
                    <a:pt x="13967" y="6949"/>
                    <a:pt x="13950" y="7016"/>
                  </a:cubicBezTo>
                  <a:close/>
                  <a:moveTo>
                    <a:pt x="11700" y="6518"/>
                  </a:moveTo>
                  <a:cubicBezTo>
                    <a:pt x="11693" y="6524"/>
                    <a:pt x="11695" y="6530"/>
                    <a:pt x="11698" y="6536"/>
                  </a:cubicBezTo>
                  <a:cubicBezTo>
                    <a:pt x="11735" y="6610"/>
                    <a:pt x="11741" y="6686"/>
                    <a:pt x="11710" y="6764"/>
                  </a:cubicBezTo>
                  <a:cubicBezTo>
                    <a:pt x="11696" y="6801"/>
                    <a:pt x="11673" y="6833"/>
                    <a:pt x="11647" y="6863"/>
                  </a:cubicBezTo>
                  <a:cubicBezTo>
                    <a:pt x="11621" y="6892"/>
                    <a:pt x="11621" y="6909"/>
                    <a:pt x="11640" y="6941"/>
                  </a:cubicBezTo>
                  <a:cubicBezTo>
                    <a:pt x="11656" y="6968"/>
                    <a:pt x="11669" y="6997"/>
                    <a:pt x="11689" y="7021"/>
                  </a:cubicBezTo>
                  <a:cubicBezTo>
                    <a:pt x="11712" y="7049"/>
                    <a:pt x="11714" y="7087"/>
                    <a:pt x="11736" y="7115"/>
                  </a:cubicBezTo>
                  <a:cubicBezTo>
                    <a:pt x="11742" y="7123"/>
                    <a:pt x="11748" y="7134"/>
                    <a:pt x="11760" y="7128"/>
                  </a:cubicBezTo>
                  <a:cubicBezTo>
                    <a:pt x="11768" y="7125"/>
                    <a:pt x="11772" y="7116"/>
                    <a:pt x="11771" y="7108"/>
                  </a:cubicBezTo>
                  <a:cubicBezTo>
                    <a:pt x="11770" y="7083"/>
                    <a:pt x="11769" y="7058"/>
                    <a:pt x="11766" y="7033"/>
                  </a:cubicBezTo>
                  <a:cubicBezTo>
                    <a:pt x="11762" y="6998"/>
                    <a:pt x="11770" y="6968"/>
                    <a:pt x="11797" y="6943"/>
                  </a:cubicBezTo>
                  <a:cubicBezTo>
                    <a:pt x="11829" y="6911"/>
                    <a:pt x="11861" y="6878"/>
                    <a:pt x="11891" y="6843"/>
                  </a:cubicBezTo>
                  <a:cubicBezTo>
                    <a:pt x="11952" y="6770"/>
                    <a:pt x="11928" y="6648"/>
                    <a:pt x="11841" y="6611"/>
                  </a:cubicBezTo>
                  <a:cubicBezTo>
                    <a:pt x="11787" y="6588"/>
                    <a:pt x="11743" y="6554"/>
                    <a:pt x="11700" y="6518"/>
                  </a:cubicBezTo>
                  <a:close/>
                  <a:moveTo>
                    <a:pt x="10836" y="15898"/>
                  </a:moveTo>
                  <a:cubicBezTo>
                    <a:pt x="10859" y="15910"/>
                    <a:pt x="10860" y="15931"/>
                    <a:pt x="10870" y="15946"/>
                  </a:cubicBezTo>
                  <a:cubicBezTo>
                    <a:pt x="10900" y="15995"/>
                    <a:pt x="10899" y="15996"/>
                    <a:pt x="10962" y="16032"/>
                  </a:cubicBezTo>
                  <a:cubicBezTo>
                    <a:pt x="10968" y="16036"/>
                    <a:pt x="10972" y="16045"/>
                    <a:pt x="10977" y="16051"/>
                  </a:cubicBezTo>
                  <a:cubicBezTo>
                    <a:pt x="10987" y="16065"/>
                    <a:pt x="10994" y="16080"/>
                    <a:pt x="11000" y="16095"/>
                  </a:cubicBezTo>
                  <a:cubicBezTo>
                    <a:pt x="11011" y="16121"/>
                    <a:pt x="11029" y="16122"/>
                    <a:pt x="11046" y="16102"/>
                  </a:cubicBezTo>
                  <a:cubicBezTo>
                    <a:pt x="11059" y="16088"/>
                    <a:pt x="11061" y="16072"/>
                    <a:pt x="11053" y="16056"/>
                  </a:cubicBezTo>
                  <a:cubicBezTo>
                    <a:pt x="11043" y="16035"/>
                    <a:pt x="11029" y="16018"/>
                    <a:pt x="11008" y="16006"/>
                  </a:cubicBezTo>
                  <a:cubicBezTo>
                    <a:pt x="10973" y="15985"/>
                    <a:pt x="10951" y="15952"/>
                    <a:pt x="10940" y="15912"/>
                  </a:cubicBezTo>
                  <a:cubicBezTo>
                    <a:pt x="10932" y="15878"/>
                    <a:pt x="10945" y="15865"/>
                    <a:pt x="10979" y="15873"/>
                  </a:cubicBezTo>
                  <a:cubicBezTo>
                    <a:pt x="11004" y="15879"/>
                    <a:pt x="11022" y="15897"/>
                    <a:pt x="11044" y="15909"/>
                  </a:cubicBezTo>
                  <a:cubicBezTo>
                    <a:pt x="11077" y="15928"/>
                    <a:pt x="11086" y="15924"/>
                    <a:pt x="11090" y="15884"/>
                  </a:cubicBezTo>
                  <a:cubicBezTo>
                    <a:pt x="11093" y="15851"/>
                    <a:pt x="11094" y="15818"/>
                    <a:pt x="11105" y="15786"/>
                  </a:cubicBezTo>
                  <a:cubicBezTo>
                    <a:pt x="11118" y="15750"/>
                    <a:pt x="11108" y="15721"/>
                    <a:pt x="11081" y="15695"/>
                  </a:cubicBezTo>
                  <a:cubicBezTo>
                    <a:pt x="11064" y="15680"/>
                    <a:pt x="11048" y="15663"/>
                    <a:pt x="11033" y="15646"/>
                  </a:cubicBezTo>
                  <a:cubicBezTo>
                    <a:pt x="11018" y="15630"/>
                    <a:pt x="11006" y="15631"/>
                    <a:pt x="10991" y="15646"/>
                  </a:cubicBezTo>
                  <a:cubicBezTo>
                    <a:pt x="10984" y="15654"/>
                    <a:pt x="10975" y="15659"/>
                    <a:pt x="10967" y="15666"/>
                  </a:cubicBezTo>
                  <a:cubicBezTo>
                    <a:pt x="10933" y="15693"/>
                    <a:pt x="10934" y="15704"/>
                    <a:pt x="10972" y="15726"/>
                  </a:cubicBezTo>
                  <a:cubicBezTo>
                    <a:pt x="11015" y="15750"/>
                    <a:pt x="11017" y="15777"/>
                    <a:pt x="10979" y="15806"/>
                  </a:cubicBezTo>
                  <a:cubicBezTo>
                    <a:pt x="10948" y="15829"/>
                    <a:pt x="10923" y="15830"/>
                    <a:pt x="10893" y="15809"/>
                  </a:cubicBezTo>
                  <a:cubicBezTo>
                    <a:pt x="10877" y="15798"/>
                    <a:pt x="10862" y="15786"/>
                    <a:pt x="10850" y="15772"/>
                  </a:cubicBezTo>
                  <a:cubicBezTo>
                    <a:pt x="10822" y="15739"/>
                    <a:pt x="10791" y="15738"/>
                    <a:pt x="10755" y="15759"/>
                  </a:cubicBezTo>
                  <a:cubicBezTo>
                    <a:pt x="10745" y="15765"/>
                    <a:pt x="10733" y="15770"/>
                    <a:pt x="10722" y="15776"/>
                  </a:cubicBezTo>
                  <a:cubicBezTo>
                    <a:pt x="10673" y="15800"/>
                    <a:pt x="10654" y="15840"/>
                    <a:pt x="10656" y="15893"/>
                  </a:cubicBezTo>
                  <a:cubicBezTo>
                    <a:pt x="10656" y="15908"/>
                    <a:pt x="10656" y="15924"/>
                    <a:pt x="10674" y="15928"/>
                  </a:cubicBezTo>
                  <a:cubicBezTo>
                    <a:pt x="10690" y="15930"/>
                    <a:pt x="10703" y="15920"/>
                    <a:pt x="10709" y="15906"/>
                  </a:cubicBezTo>
                  <a:cubicBezTo>
                    <a:pt x="10717" y="15889"/>
                    <a:pt x="10722" y="15871"/>
                    <a:pt x="10731" y="15854"/>
                  </a:cubicBezTo>
                  <a:cubicBezTo>
                    <a:pt x="10737" y="15842"/>
                    <a:pt x="10738" y="15821"/>
                    <a:pt x="10756" y="15824"/>
                  </a:cubicBezTo>
                  <a:cubicBezTo>
                    <a:pt x="10776" y="15826"/>
                    <a:pt x="10769" y="15846"/>
                    <a:pt x="10770" y="15859"/>
                  </a:cubicBezTo>
                  <a:cubicBezTo>
                    <a:pt x="10771" y="15865"/>
                    <a:pt x="10770" y="15872"/>
                    <a:pt x="10771" y="15878"/>
                  </a:cubicBezTo>
                  <a:cubicBezTo>
                    <a:pt x="10772" y="15899"/>
                    <a:pt x="10763" y="15927"/>
                    <a:pt x="10792" y="15936"/>
                  </a:cubicBezTo>
                  <a:cubicBezTo>
                    <a:pt x="10823" y="15946"/>
                    <a:pt x="10813" y="15905"/>
                    <a:pt x="10836" y="15898"/>
                  </a:cubicBezTo>
                  <a:close/>
                  <a:moveTo>
                    <a:pt x="17553" y="6887"/>
                  </a:moveTo>
                  <a:cubicBezTo>
                    <a:pt x="17541" y="6886"/>
                    <a:pt x="17528" y="6885"/>
                    <a:pt x="17520" y="6898"/>
                  </a:cubicBezTo>
                  <a:cubicBezTo>
                    <a:pt x="17512" y="6912"/>
                    <a:pt x="17521" y="6922"/>
                    <a:pt x="17529" y="6931"/>
                  </a:cubicBezTo>
                  <a:cubicBezTo>
                    <a:pt x="17581" y="6995"/>
                    <a:pt x="17588" y="7069"/>
                    <a:pt x="17563" y="7143"/>
                  </a:cubicBezTo>
                  <a:cubicBezTo>
                    <a:pt x="17551" y="7179"/>
                    <a:pt x="17543" y="7213"/>
                    <a:pt x="17539" y="7250"/>
                  </a:cubicBezTo>
                  <a:cubicBezTo>
                    <a:pt x="17534" y="7300"/>
                    <a:pt x="17515" y="7343"/>
                    <a:pt x="17458" y="7354"/>
                  </a:cubicBezTo>
                  <a:cubicBezTo>
                    <a:pt x="17433" y="7359"/>
                    <a:pt x="17419" y="7378"/>
                    <a:pt x="17405" y="7396"/>
                  </a:cubicBezTo>
                  <a:cubicBezTo>
                    <a:pt x="17398" y="7406"/>
                    <a:pt x="17391" y="7418"/>
                    <a:pt x="17400" y="7430"/>
                  </a:cubicBezTo>
                  <a:cubicBezTo>
                    <a:pt x="17410" y="7442"/>
                    <a:pt x="17423" y="7438"/>
                    <a:pt x="17434" y="7432"/>
                  </a:cubicBezTo>
                  <a:cubicBezTo>
                    <a:pt x="17480" y="7407"/>
                    <a:pt x="17527" y="7387"/>
                    <a:pt x="17579" y="7377"/>
                  </a:cubicBezTo>
                  <a:cubicBezTo>
                    <a:pt x="17619" y="7369"/>
                    <a:pt x="17628" y="7355"/>
                    <a:pt x="17630" y="7312"/>
                  </a:cubicBezTo>
                  <a:cubicBezTo>
                    <a:pt x="17635" y="7232"/>
                    <a:pt x="17675" y="7177"/>
                    <a:pt x="17745" y="7141"/>
                  </a:cubicBezTo>
                  <a:cubicBezTo>
                    <a:pt x="17756" y="7135"/>
                    <a:pt x="17768" y="7132"/>
                    <a:pt x="17779" y="7126"/>
                  </a:cubicBezTo>
                  <a:cubicBezTo>
                    <a:pt x="17804" y="7113"/>
                    <a:pt x="17808" y="7097"/>
                    <a:pt x="17789" y="7078"/>
                  </a:cubicBezTo>
                  <a:cubicBezTo>
                    <a:pt x="17780" y="7068"/>
                    <a:pt x="17766" y="7061"/>
                    <a:pt x="17754" y="7053"/>
                  </a:cubicBezTo>
                  <a:cubicBezTo>
                    <a:pt x="17712" y="7026"/>
                    <a:pt x="17673" y="6996"/>
                    <a:pt x="17654" y="6946"/>
                  </a:cubicBezTo>
                  <a:cubicBezTo>
                    <a:pt x="17637" y="6902"/>
                    <a:pt x="17599" y="6886"/>
                    <a:pt x="17553" y="6887"/>
                  </a:cubicBezTo>
                  <a:close/>
                  <a:moveTo>
                    <a:pt x="13705" y="9043"/>
                  </a:moveTo>
                  <a:cubicBezTo>
                    <a:pt x="13674" y="9041"/>
                    <a:pt x="13658" y="9067"/>
                    <a:pt x="13670" y="9101"/>
                  </a:cubicBezTo>
                  <a:cubicBezTo>
                    <a:pt x="13687" y="9146"/>
                    <a:pt x="13703" y="9191"/>
                    <a:pt x="13721" y="9235"/>
                  </a:cubicBezTo>
                  <a:cubicBezTo>
                    <a:pt x="13749" y="9299"/>
                    <a:pt x="13784" y="9361"/>
                    <a:pt x="13817" y="9422"/>
                  </a:cubicBezTo>
                  <a:cubicBezTo>
                    <a:pt x="13826" y="9439"/>
                    <a:pt x="13842" y="9448"/>
                    <a:pt x="13858" y="9431"/>
                  </a:cubicBezTo>
                  <a:cubicBezTo>
                    <a:pt x="13880" y="9407"/>
                    <a:pt x="13905" y="9385"/>
                    <a:pt x="13921" y="9356"/>
                  </a:cubicBezTo>
                  <a:cubicBezTo>
                    <a:pt x="13933" y="9335"/>
                    <a:pt x="13929" y="9320"/>
                    <a:pt x="13909" y="9309"/>
                  </a:cubicBezTo>
                  <a:cubicBezTo>
                    <a:pt x="13902" y="9304"/>
                    <a:pt x="13895" y="9301"/>
                    <a:pt x="13887" y="9297"/>
                  </a:cubicBezTo>
                  <a:cubicBezTo>
                    <a:pt x="13868" y="9290"/>
                    <a:pt x="13869" y="9277"/>
                    <a:pt x="13879" y="9263"/>
                  </a:cubicBezTo>
                  <a:cubicBezTo>
                    <a:pt x="13911" y="9222"/>
                    <a:pt x="13947" y="9185"/>
                    <a:pt x="13987" y="9152"/>
                  </a:cubicBezTo>
                  <a:cubicBezTo>
                    <a:pt x="14003" y="9139"/>
                    <a:pt x="14030" y="9131"/>
                    <a:pt x="14024" y="9107"/>
                  </a:cubicBezTo>
                  <a:cubicBezTo>
                    <a:pt x="14018" y="9084"/>
                    <a:pt x="13990" y="9080"/>
                    <a:pt x="13969" y="9071"/>
                  </a:cubicBezTo>
                  <a:cubicBezTo>
                    <a:pt x="13951" y="9064"/>
                    <a:pt x="13932" y="9067"/>
                    <a:pt x="13916" y="9077"/>
                  </a:cubicBezTo>
                  <a:cubicBezTo>
                    <a:pt x="13863" y="9107"/>
                    <a:pt x="13814" y="9105"/>
                    <a:pt x="13765" y="9069"/>
                  </a:cubicBezTo>
                  <a:cubicBezTo>
                    <a:pt x="13747" y="9056"/>
                    <a:pt x="13723" y="9051"/>
                    <a:pt x="13705" y="9043"/>
                  </a:cubicBezTo>
                  <a:close/>
                  <a:moveTo>
                    <a:pt x="5422" y="6185"/>
                  </a:moveTo>
                  <a:cubicBezTo>
                    <a:pt x="5422" y="6185"/>
                    <a:pt x="5422" y="6183"/>
                    <a:pt x="5422" y="6181"/>
                  </a:cubicBezTo>
                  <a:cubicBezTo>
                    <a:pt x="5419" y="6158"/>
                    <a:pt x="5433" y="6127"/>
                    <a:pt x="5405" y="6114"/>
                  </a:cubicBezTo>
                  <a:cubicBezTo>
                    <a:pt x="5378" y="6102"/>
                    <a:pt x="5366" y="6133"/>
                    <a:pt x="5350" y="6147"/>
                  </a:cubicBezTo>
                  <a:cubicBezTo>
                    <a:pt x="5317" y="6176"/>
                    <a:pt x="5287" y="6210"/>
                    <a:pt x="5237" y="6216"/>
                  </a:cubicBezTo>
                  <a:cubicBezTo>
                    <a:pt x="5211" y="6220"/>
                    <a:pt x="5190" y="6240"/>
                    <a:pt x="5171" y="6261"/>
                  </a:cubicBezTo>
                  <a:cubicBezTo>
                    <a:pt x="5136" y="6300"/>
                    <a:pt x="5115" y="6348"/>
                    <a:pt x="5086" y="6391"/>
                  </a:cubicBezTo>
                  <a:cubicBezTo>
                    <a:pt x="5074" y="6409"/>
                    <a:pt x="5077" y="6429"/>
                    <a:pt x="5096" y="6440"/>
                  </a:cubicBezTo>
                  <a:cubicBezTo>
                    <a:pt x="5120" y="6454"/>
                    <a:pt x="5141" y="6491"/>
                    <a:pt x="5171" y="6467"/>
                  </a:cubicBezTo>
                  <a:cubicBezTo>
                    <a:pt x="5227" y="6423"/>
                    <a:pt x="5290" y="6401"/>
                    <a:pt x="5358" y="6386"/>
                  </a:cubicBezTo>
                  <a:cubicBezTo>
                    <a:pt x="5388" y="6380"/>
                    <a:pt x="5406" y="6360"/>
                    <a:pt x="5408" y="6330"/>
                  </a:cubicBezTo>
                  <a:cubicBezTo>
                    <a:pt x="5411" y="6282"/>
                    <a:pt x="5425" y="6236"/>
                    <a:pt x="5422" y="6185"/>
                  </a:cubicBezTo>
                  <a:close/>
                  <a:moveTo>
                    <a:pt x="1811" y="16030"/>
                  </a:moveTo>
                  <a:cubicBezTo>
                    <a:pt x="1823" y="16056"/>
                    <a:pt x="1819" y="16083"/>
                    <a:pt x="1822" y="16109"/>
                  </a:cubicBezTo>
                  <a:cubicBezTo>
                    <a:pt x="1825" y="16136"/>
                    <a:pt x="1825" y="16163"/>
                    <a:pt x="1837" y="16188"/>
                  </a:cubicBezTo>
                  <a:cubicBezTo>
                    <a:pt x="1843" y="16200"/>
                    <a:pt x="1854" y="16206"/>
                    <a:pt x="1868" y="16204"/>
                  </a:cubicBezTo>
                  <a:cubicBezTo>
                    <a:pt x="1881" y="16202"/>
                    <a:pt x="1883" y="16191"/>
                    <a:pt x="1884" y="16180"/>
                  </a:cubicBezTo>
                  <a:cubicBezTo>
                    <a:pt x="1885" y="16139"/>
                    <a:pt x="1885" y="16097"/>
                    <a:pt x="1889" y="16056"/>
                  </a:cubicBezTo>
                  <a:cubicBezTo>
                    <a:pt x="1898" y="15949"/>
                    <a:pt x="1838" y="15877"/>
                    <a:pt x="1769" y="15809"/>
                  </a:cubicBezTo>
                  <a:cubicBezTo>
                    <a:pt x="1755" y="15795"/>
                    <a:pt x="1742" y="15785"/>
                    <a:pt x="1720" y="15799"/>
                  </a:cubicBezTo>
                  <a:cubicBezTo>
                    <a:pt x="1622" y="15862"/>
                    <a:pt x="1606" y="15902"/>
                    <a:pt x="1640" y="16018"/>
                  </a:cubicBezTo>
                  <a:cubicBezTo>
                    <a:pt x="1642" y="16026"/>
                    <a:pt x="1646" y="16033"/>
                    <a:pt x="1647" y="16041"/>
                  </a:cubicBezTo>
                  <a:cubicBezTo>
                    <a:pt x="1654" y="16081"/>
                    <a:pt x="1675" y="16099"/>
                    <a:pt x="1718" y="16102"/>
                  </a:cubicBezTo>
                  <a:cubicBezTo>
                    <a:pt x="1754" y="16104"/>
                    <a:pt x="1769" y="16098"/>
                    <a:pt x="1772" y="16063"/>
                  </a:cubicBezTo>
                  <a:cubicBezTo>
                    <a:pt x="1774" y="16042"/>
                    <a:pt x="1787" y="16030"/>
                    <a:pt x="1811" y="16030"/>
                  </a:cubicBezTo>
                  <a:close/>
                  <a:moveTo>
                    <a:pt x="11901" y="6410"/>
                  </a:moveTo>
                  <a:cubicBezTo>
                    <a:pt x="11923" y="6407"/>
                    <a:pt x="11927" y="6393"/>
                    <a:pt x="11927" y="6378"/>
                  </a:cubicBezTo>
                  <a:cubicBezTo>
                    <a:pt x="11928" y="6337"/>
                    <a:pt x="11941" y="6301"/>
                    <a:pt x="11963" y="6267"/>
                  </a:cubicBezTo>
                  <a:cubicBezTo>
                    <a:pt x="11981" y="6240"/>
                    <a:pt x="11977" y="6213"/>
                    <a:pt x="11958" y="6186"/>
                  </a:cubicBezTo>
                  <a:cubicBezTo>
                    <a:pt x="11923" y="6137"/>
                    <a:pt x="11882" y="6093"/>
                    <a:pt x="11837" y="6053"/>
                  </a:cubicBezTo>
                  <a:cubicBezTo>
                    <a:pt x="11798" y="6020"/>
                    <a:pt x="11791" y="6021"/>
                    <a:pt x="11755" y="6056"/>
                  </a:cubicBezTo>
                  <a:cubicBezTo>
                    <a:pt x="11737" y="6073"/>
                    <a:pt x="11718" y="6090"/>
                    <a:pt x="11702" y="6108"/>
                  </a:cubicBezTo>
                  <a:cubicBezTo>
                    <a:pt x="11676" y="6139"/>
                    <a:pt x="11674" y="6148"/>
                    <a:pt x="11699" y="6178"/>
                  </a:cubicBezTo>
                  <a:cubicBezTo>
                    <a:pt x="11760" y="6252"/>
                    <a:pt x="11822" y="6324"/>
                    <a:pt x="11884" y="6397"/>
                  </a:cubicBezTo>
                  <a:cubicBezTo>
                    <a:pt x="11889" y="6403"/>
                    <a:pt x="11897" y="6406"/>
                    <a:pt x="11901" y="6410"/>
                  </a:cubicBezTo>
                  <a:close/>
                  <a:moveTo>
                    <a:pt x="11535" y="3092"/>
                  </a:moveTo>
                  <a:cubicBezTo>
                    <a:pt x="11544" y="3055"/>
                    <a:pt x="11525" y="3024"/>
                    <a:pt x="11507" y="3002"/>
                  </a:cubicBezTo>
                  <a:cubicBezTo>
                    <a:pt x="11477" y="2964"/>
                    <a:pt x="11457" y="2922"/>
                    <a:pt x="11440" y="2877"/>
                  </a:cubicBezTo>
                  <a:cubicBezTo>
                    <a:pt x="11435" y="2863"/>
                    <a:pt x="11436" y="2838"/>
                    <a:pt x="11413" y="2843"/>
                  </a:cubicBezTo>
                  <a:cubicBezTo>
                    <a:pt x="11391" y="2848"/>
                    <a:pt x="11401" y="2871"/>
                    <a:pt x="11400" y="2886"/>
                  </a:cubicBezTo>
                  <a:cubicBezTo>
                    <a:pt x="11397" y="2960"/>
                    <a:pt x="11368" y="3014"/>
                    <a:pt x="11291" y="3033"/>
                  </a:cubicBezTo>
                  <a:cubicBezTo>
                    <a:pt x="11274" y="3037"/>
                    <a:pt x="11260" y="3046"/>
                    <a:pt x="11247" y="3056"/>
                  </a:cubicBezTo>
                  <a:cubicBezTo>
                    <a:pt x="11218" y="3076"/>
                    <a:pt x="11219" y="3105"/>
                    <a:pt x="11222" y="3134"/>
                  </a:cubicBezTo>
                  <a:cubicBezTo>
                    <a:pt x="11224" y="3163"/>
                    <a:pt x="11242" y="3178"/>
                    <a:pt x="11270" y="3183"/>
                  </a:cubicBezTo>
                  <a:cubicBezTo>
                    <a:pt x="11293" y="3187"/>
                    <a:pt x="11314" y="3196"/>
                    <a:pt x="11336" y="3201"/>
                  </a:cubicBezTo>
                  <a:cubicBezTo>
                    <a:pt x="11371" y="3207"/>
                    <a:pt x="11392" y="3230"/>
                    <a:pt x="11404" y="3259"/>
                  </a:cubicBezTo>
                  <a:cubicBezTo>
                    <a:pt x="11418" y="3289"/>
                    <a:pt x="11433" y="3319"/>
                    <a:pt x="11432" y="3354"/>
                  </a:cubicBezTo>
                  <a:cubicBezTo>
                    <a:pt x="11431" y="3364"/>
                    <a:pt x="11433" y="3376"/>
                    <a:pt x="11446" y="3378"/>
                  </a:cubicBezTo>
                  <a:cubicBezTo>
                    <a:pt x="11458" y="3380"/>
                    <a:pt x="11464" y="3370"/>
                    <a:pt x="11470" y="3362"/>
                  </a:cubicBezTo>
                  <a:cubicBezTo>
                    <a:pt x="11511" y="3304"/>
                    <a:pt x="11503" y="3249"/>
                    <a:pt x="11448" y="3204"/>
                  </a:cubicBezTo>
                  <a:cubicBezTo>
                    <a:pt x="11435" y="3193"/>
                    <a:pt x="11422" y="3183"/>
                    <a:pt x="11410" y="3172"/>
                  </a:cubicBezTo>
                  <a:cubicBezTo>
                    <a:pt x="11387" y="3150"/>
                    <a:pt x="11366" y="3129"/>
                    <a:pt x="11331" y="3126"/>
                  </a:cubicBezTo>
                  <a:cubicBezTo>
                    <a:pt x="11307" y="3124"/>
                    <a:pt x="11303" y="3106"/>
                    <a:pt x="11321" y="3086"/>
                  </a:cubicBezTo>
                  <a:cubicBezTo>
                    <a:pt x="11338" y="3068"/>
                    <a:pt x="11357" y="3050"/>
                    <a:pt x="11377" y="3037"/>
                  </a:cubicBezTo>
                  <a:cubicBezTo>
                    <a:pt x="11422" y="3007"/>
                    <a:pt x="11461" y="3015"/>
                    <a:pt x="11499" y="3053"/>
                  </a:cubicBezTo>
                  <a:cubicBezTo>
                    <a:pt x="11510" y="3065"/>
                    <a:pt x="11509" y="3085"/>
                    <a:pt x="11535" y="3092"/>
                  </a:cubicBezTo>
                  <a:close/>
                  <a:moveTo>
                    <a:pt x="8880" y="2610"/>
                  </a:moveTo>
                  <a:cubicBezTo>
                    <a:pt x="8878" y="2626"/>
                    <a:pt x="8877" y="2635"/>
                    <a:pt x="8877" y="2643"/>
                  </a:cubicBezTo>
                  <a:cubicBezTo>
                    <a:pt x="8876" y="2699"/>
                    <a:pt x="8891" y="2710"/>
                    <a:pt x="8944" y="2691"/>
                  </a:cubicBezTo>
                  <a:cubicBezTo>
                    <a:pt x="9010" y="2667"/>
                    <a:pt x="9065" y="2687"/>
                    <a:pt x="9115" y="2729"/>
                  </a:cubicBezTo>
                  <a:cubicBezTo>
                    <a:pt x="9126" y="2738"/>
                    <a:pt x="9134" y="2751"/>
                    <a:pt x="9145" y="2760"/>
                  </a:cubicBezTo>
                  <a:cubicBezTo>
                    <a:pt x="9166" y="2778"/>
                    <a:pt x="9184" y="2771"/>
                    <a:pt x="9189" y="2744"/>
                  </a:cubicBezTo>
                  <a:cubicBezTo>
                    <a:pt x="9196" y="2705"/>
                    <a:pt x="9177" y="2660"/>
                    <a:pt x="9141" y="2638"/>
                  </a:cubicBezTo>
                  <a:cubicBezTo>
                    <a:pt x="9114" y="2621"/>
                    <a:pt x="9088" y="2605"/>
                    <a:pt x="9070" y="2578"/>
                  </a:cubicBezTo>
                  <a:cubicBezTo>
                    <a:pt x="9051" y="2551"/>
                    <a:pt x="9034" y="2523"/>
                    <a:pt x="9016" y="2495"/>
                  </a:cubicBezTo>
                  <a:cubicBezTo>
                    <a:pt x="9009" y="2482"/>
                    <a:pt x="9003" y="2469"/>
                    <a:pt x="8987" y="2465"/>
                  </a:cubicBezTo>
                  <a:cubicBezTo>
                    <a:pt x="8942" y="2452"/>
                    <a:pt x="8873" y="2503"/>
                    <a:pt x="8874" y="2550"/>
                  </a:cubicBezTo>
                  <a:cubicBezTo>
                    <a:pt x="8875" y="2573"/>
                    <a:pt x="8878" y="2595"/>
                    <a:pt x="8880" y="2610"/>
                  </a:cubicBezTo>
                  <a:close/>
                  <a:moveTo>
                    <a:pt x="12810" y="15671"/>
                  </a:moveTo>
                  <a:cubicBezTo>
                    <a:pt x="12818" y="15678"/>
                    <a:pt x="12820" y="15679"/>
                    <a:pt x="12821" y="15681"/>
                  </a:cubicBezTo>
                  <a:cubicBezTo>
                    <a:pt x="12827" y="15691"/>
                    <a:pt x="12824" y="15709"/>
                    <a:pt x="12839" y="15711"/>
                  </a:cubicBezTo>
                  <a:cubicBezTo>
                    <a:pt x="12857" y="15713"/>
                    <a:pt x="12861" y="15695"/>
                    <a:pt x="12867" y="15682"/>
                  </a:cubicBezTo>
                  <a:cubicBezTo>
                    <a:pt x="12879" y="15656"/>
                    <a:pt x="12890" y="15629"/>
                    <a:pt x="12903" y="15603"/>
                  </a:cubicBezTo>
                  <a:cubicBezTo>
                    <a:pt x="12913" y="15582"/>
                    <a:pt x="12919" y="15560"/>
                    <a:pt x="12919" y="15537"/>
                  </a:cubicBezTo>
                  <a:cubicBezTo>
                    <a:pt x="12920" y="15515"/>
                    <a:pt x="12910" y="15499"/>
                    <a:pt x="12887" y="15500"/>
                  </a:cubicBezTo>
                  <a:cubicBezTo>
                    <a:pt x="12857" y="15502"/>
                    <a:pt x="12835" y="15492"/>
                    <a:pt x="12815" y="15471"/>
                  </a:cubicBezTo>
                  <a:cubicBezTo>
                    <a:pt x="12803" y="15459"/>
                    <a:pt x="12784" y="15459"/>
                    <a:pt x="12769" y="15471"/>
                  </a:cubicBezTo>
                  <a:cubicBezTo>
                    <a:pt x="12728" y="15502"/>
                    <a:pt x="12695" y="15542"/>
                    <a:pt x="12684" y="15590"/>
                  </a:cubicBezTo>
                  <a:cubicBezTo>
                    <a:pt x="12671" y="15644"/>
                    <a:pt x="12672" y="15701"/>
                    <a:pt x="12668" y="15757"/>
                  </a:cubicBezTo>
                  <a:cubicBezTo>
                    <a:pt x="12667" y="15768"/>
                    <a:pt x="12667" y="15779"/>
                    <a:pt x="12678" y="15784"/>
                  </a:cubicBezTo>
                  <a:cubicBezTo>
                    <a:pt x="12691" y="15790"/>
                    <a:pt x="12706" y="15787"/>
                    <a:pt x="12711" y="15776"/>
                  </a:cubicBezTo>
                  <a:cubicBezTo>
                    <a:pt x="12733" y="15731"/>
                    <a:pt x="12781" y="15712"/>
                    <a:pt x="12810" y="15671"/>
                  </a:cubicBezTo>
                  <a:close/>
                  <a:moveTo>
                    <a:pt x="15102" y="15420"/>
                  </a:moveTo>
                  <a:cubicBezTo>
                    <a:pt x="15101" y="15446"/>
                    <a:pt x="15113" y="15482"/>
                    <a:pt x="15121" y="15518"/>
                  </a:cubicBezTo>
                  <a:cubicBezTo>
                    <a:pt x="15124" y="15532"/>
                    <a:pt x="15128" y="15548"/>
                    <a:pt x="15147" y="15548"/>
                  </a:cubicBezTo>
                  <a:cubicBezTo>
                    <a:pt x="15165" y="15548"/>
                    <a:pt x="15169" y="15532"/>
                    <a:pt x="15172" y="15517"/>
                  </a:cubicBezTo>
                  <a:cubicBezTo>
                    <a:pt x="15177" y="15491"/>
                    <a:pt x="15176" y="15464"/>
                    <a:pt x="15192" y="15440"/>
                  </a:cubicBezTo>
                  <a:cubicBezTo>
                    <a:pt x="15218" y="15402"/>
                    <a:pt x="15243" y="15365"/>
                    <a:pt x="15286" y="15342"/>
                  </a:cubicBezTo>
                  <a:cubicBezTo>
                    <a:pt x="15323" y="15323"/>
                    <a:pt x="15347" y="15293"/>
                    <a:pt x="15345" y="15248"/>
                  </a:cubicBezTo>
                  <a:cubicBezTo>
                    <a:pt x="15343" y="15206"/>
                    <a:pt x="15334" y="15197"/>
                    <a:pt x="15291" y="15208"/>
                  </a:cubicBezTo>
                  <a:cubicBezTo>
                    <a:pt x="15261" y="15216"/>
                    <a:pt x="15241" y="15214"/>
                    <a:pt x="15227" y="15181"/>
                  </a:cubicBezTo>
                  <a:cubicBezTo>
                    <a:pt x="15216" y="15156"/>
                    <a:pt x="15195" y="15157"/>
                    <a:pt x="15181" y="15181"/>
                  </a:cubicBezTo>
                  <a:cubicBezTo>
                    <a:pt x="15166" y="15210"/>
                    <a:pt x="15154" y="15242"/>
                    <a:pt x="15137" y="15270"/>
                  </a:cubicBezTo>
                  <a:cubicBezTo>
                    <a:pt x="15112" y="15313"/>
                    <a:pt x="15105" y="15360"/>
                    <a:pt x="15102" y="15420"/>
                  </a:cubicBezTo>
                  <a:close/>
                  <a:moveTo>
                    <a:pt x="9182" y="3117"/>
                  </a:moveTo>
                  <a:cubicBezTo>
                    <a:pt x="9164" y="3072"/>
                    <a:pt x="9174" y="3018"/>
                    <a:pt x="9166" y="2967"/>
                  </a:cubicBezTo>
                  <a:cubicBezTo>
                    <a:pt x="9159" y="2925"/>
                    <a:pt x="9135" y="2899"/>
                    <a:pt x="9098" y="2897"/>
                  </a:cubicBezTo>
                  <a:cubicBezTo>
                    <a:pt x="9050" y="2895"/>
                    <a:pt x="9010" y="2878"/>
                    <a:pt x="8973" y="2848"/>
                  </a:cubicBezTo>
                  <a:cubicBezTo>
                    <a:pt x="8969" y="2844"/>
                    <a:pt x="8963" y="2840"/>
                    <a:pt x="8958" y="2838"/>
                  </a:cubicBezTo>
                  <a:cubicBezTo>
                    <a:pt x="8948" y="2835"/>
                    <a:pt x="8937" y="2833"/>
                    <a:pt x="8928" y="2841"/>
                  </a:cubicBezTo>
                  <a:cubicBezTo>
                    <a:pt x="8921" y="2848"/>
                    <a:pt x="8923" y="2857"/>
                    <a:pt x="8927" y="2864"/>
                  </a:cubicBezTo>
                  <a:cubicBezTo>
                    <a:pt x="8937" y="2881"/>
                    <a:pt x="8935" y="2899"/>
                    <a:pt x="8935" y="2918"/>
                  </a:cubicBezTo>
                  <a:cubicBezTo>
                    <a:pt x="8935" y="2989"/>
                    <a:pt x="8971" y="3042"/>
                    <a:pt x="9027" y="3079"/>
                  </a:cubicBezTo>
                  <a:cubicBezTo>
                    <a:pt x="9064" y="3103"/>
                    <a:pt x="9110" y="3114"/>
                    <a:pt x="9145" y="3145"/>
                  </a:cubicBezTo>
                  <a:cubicBezTo>
                    <a:pt x="9161" y="3159"/>
                    <a:pt x="9182" y="3144"/>
                    <a:pt x="9182" y="3117"/>
                  </a:cubicBezTo>
                  <a:close/>
                  <a:moveTo>
                    <a:pt x="13404" y="12993"/>
                  </a:moveTo>
                  <a:cubicBezTo>
                    <a:pt x="13404" y="12958"/>
                    <a:pt x="13404" y="12910"/>
                    <a:pt x="13403" y="12862"/>
                  </a:cubicBezTo>
                  <a:cubicBezTo>
                    <a:pt x="13403" y="12854"/>
                    <a:pt x="13400" y="12846"/>
                    <a:pt x="13391" y="12843"/>
                  </a:cubicBezTo>
                  <a:cubicBezTo>
                    <a:pt x="13381" y="12840"/>
                    <a:pt x="13375" y="12846"/>
                    <a:pt x="13371" y="12854"/>
                  </a:cubicBezTo>
                  <a:cubicBezTo>
                    <a:pt x="13343" y="12926"/>
                    <a:pt x="13287" y="12987"/>
                    <a:pt x="13292" y="13073"/>
                  </a:cubicBezTo>
                  <a:cubicBezTo>
                    <a:pt x="13294" y="13106"/>
                    <a:pt x="13285" y="13138"/>
                    <a:pt x="13302" y="13170"/>
                  </a:cubicBezTo>
                  <a:cubicBezTo>
                    <a:pt x="13313" y="13189"/>
                    <a:pt x="13308" y="13210"/>
                    <a:pt x="13306" y="13231"/>
                  </a:cubicBezTo>
                  <a:cubicBezTo>
                    <a:pt x="13301" y="13277"/>
                    <a:pt x="13308" y="13322"/>
                    <a:pt x="13329" y="13364"/>
                  </a:cubicBezTo>
                  <a:cubicBezTo>
                    <a:pt x="13335" y="13375"/>
                    <a:pt x="13345" y="13385"/>
                    <a:pt x="13359" y="13382"/>
                  </a:cubicBezTo>
                  <a:cubicBezTo>
                    <a:pt x="13374" y="13379"/>
                    <a:pt x="13377" y="13366"/>
                    <a:pt x="13377" y="13353"/>
                  </a:cubicBezTo>
                  <a:cubicBezTo>
                    <a:pt x="13376" y="13326"/>
                    <a:pt x="13370" y="13299"/>
                    <a:pt x="13377" y="13272"/>
                  </a:cubicBezTo>
                  <a:cubicBezTo>
                    <a:pt x="13401" y="13185"/>
                    <a:pt x="13405" y="13095"/>
                    <a:pt x="13404" y="12993"/>
                  </a:cubicBezTo>
                  <a:close/>
                  <a:moveTo>
                    <a:pt x="10255" y="5896"/>
                  </a:moveTo>
                  <a:cubicBezTo>
                    <a:pt x="10284" y="5896"/>
                    <a:pt x="10299" y="5894"/>
                    <a:pt x="10313" y="5896"/>
                  </a:cubicBezTo>
                  <a:cubicBezTo>
                    <a:pt x="10351" y="5901"/>
                    <a:pt x="10374" y="5887"/>
                    <a:pt x="10390" y="5851"/>
                  </a:cubicBezTo>
                  <a:cubicBezTo>
                    <a:pt x="10422" y="5782"/>
                    <a:pt x="10442" y="5707"/>
                    <a:pt x="10486" y="5644"/>
                  </a:cubicBezTo>
                  <a:cubicBezTo>
                    <a:pt x="10495" y="5631"/>
                    <a:pt x="10497" y="5615"/>
                    <a:pt x="10483" y="5604"/>
                  </a:cubicBezTo>
                  <a:cubicBezTo>
                    <a:pt x="10470" y="5594"/>
                    <a:pt x="10456" y="5601"/>
                    <a:pt x="10444" y="5610"/>
                  </a:cubicBezTo>
                  <a:cubicBezTo>
                    <a:pt x="10392" y="5645"/>
                    <a:pt x="10343" y="5683"/>
                    <a:pt x="10301" y="5728"/>
                  </a:cubicBezTo>
                  <a:cubicBezTo>
                    <a:pt x="10262" y="5769"/>
                    <a:pt x="10225" y="5811"/>
                    <a:pt x="10188" y="5852"/>
                  </a:cubicBezTo>
                  <a:cubicBezTo>
                    <a:pt x="10179" y="5862"/>
                    <a:pt x="10170" y="5871"/>
                    <a:pt x="10176" y="5885"/>
                  </a:cubicBezTo>
                  <a:cubicBezTo>
                    <a:pt x="10182" y="5900"/>
                    <a:pt x="10195" y="5899"/>
                    <a:pt x="10208" y="5898"/>
                  </a:cubicBezTo>
                  <a:cubicBezTo>
                    <a:pt x="10228" y="5897"/>
                    <a:pt x="10249" y="5896"/>
                    <a:pt x="10255" y="5896"/>
                  </a:cubicBezTo>
                  <a:close/>
                  <a:moveTo>
                    <a:pt x="8258" y="1498"/>
                  </a:moveTo>
                  <a:cubicBezTo>
                    <a:pt x="8233" y="1434"/>
                    <a:pt x="8209" y="1369"/>
                    <a:pt x="8152" y="1325"/>
                  </a:cubicBezTo>
                  <a:cubicBezTo>
                    <a:pt x="8122" y="1302"/>
                    <a:pt x="8098" y="1312"/>
                    <a:pt x="8090" y="1351"/>
                  </a:cubicBezTo>
                  <a:cubicBezTo>
                    <a:pt x="8081" y="1392"/>
                    <a:pt x="8074" y="1432"/>
                    <a:pt x="8041" y="1462"/>
                  </a:cubicBezTo>
                  <a:cubicBezTo>
                    <a:pt x="8024" y="1478"/>
                    <a:pt x="8024" y="1500"/>
                    <a:pt x="8036" y="1520"/>
                  </a:cubicBezTo>
                  <a:cubicBezTo>
                    <a:pt x="8054" y="1550"/>
                    <a:pt x="8072" y="1580"/>
                    <a:pt x="8086" y="1613"/>
                  </a:cubicBezTo>
                  <a:cubicBezTo>
                    <a:pt x="8092" y="1627"/>
                    <a:pt x="8108" y="1630"/>
                    <a:pt x="8116" y="1617"/>
                  </a:cubicBezTo>
                  <a:cubicBezTo>
                    <a:pt x="8143" y="1570"/>
                    <a:pt x="8191" y="1553"/>
                    <a:pt x="8234" y="1529"/>
                  </a:cubicBezTo>
                  <a:cubicBezTo>
                    <a:pt x="8247" y="1522"/>
                    <a:pt x="8260" y="1516"/>
                    <a:pt x="8258" y="1498"/>
                  </a:cubicBezTo>
                  <a:close/>
                  <a:moveTo>
                    <a:pt x="12173" y="10048"/>
                  </a:moveTo>
                  <a:cubicBezTo>
                    <a:pt x="12146" y="10048"/>
                    <a:pt x="12122" y="10077"/>
                    <a:pt x="12130" y="10104"/>
                  </a:cubicBezTo>
                  <a:cubicBezTo>
                    <a:pt x="12135" y="10120"/>
                    <a:pt x="12143" y="10135"/>
                    <a:pt x="12153" y="10148"/>
                  </a:cubicBezTo>
                  <a:cubicBezTo>
                    <a:pt x="12166" y="10167"/>
                    <a:pt x="12167" y="10185"/>
                    <a:pt x="12162" y="10207"/>
                  </a:cubicBezTo>
                  <a:cubicBezTo>
                    <a:pt x="12151" y="10256"/>
                    <a:pt x="12158" y="10271"/>
                    <a:pt x="12203" y="10287"/>
                  </a:cubicBezTo>
                  <a:cubicBezTo>
                    <a:pt x="12256" y="10305"/>
                    <a:pt x="12312" y="10315"/>
                    <a:pt x="12360" y="10346"/>
                  </a:cubicBezTo>
                  <a:cubicBezTo>
                    <a:pt x="12367" y="10350"/>
                    <a:pt x="12377" y="10350"/>
                    <a:pt x="12384" y="10345"/>
                  </a:cubicBezTo>
                  <a:cubicBezTo>
                    <a:pt x="12394" y="10337"/>
                    <a:pt x="12392" y="10327"/>
                    <a:pt x="12387" y="10317"/>
                  </a:cubicBezTo>
                  <a:cubicBezTo>
                    <a:pt x="12369" y="10275"/>
                    <a:pt x="12350" y="10234"/>
                    <a:pt x="12335" y="10191"/>
                  </a:cubicBezTo>
                  <a:cubicBezTo>
                    <a:pt x="12322" y="10156"/>
                    <a:pt x="12306" y="10128"/>
                    <a:pt x="12269" y="10114"/>
                  </a:cubicBezTo>
                  <a:cubicBezTo>
                    <a:pt x="12246" y="10104"/>
                    <a:pt x="12227" y="10088"/>
                    <a:pt x="12209" y="10069"/>
                  </a:cubicBezTo>
                  <a:cubicBezTo>
                    <a:pt x="12200" y="10059"/>
                    <a:pt x="12189" y="10049"/>
                    <a:pt x="12173" y="10048"/>
                  </a:cubicBezTo>
                  <a:close/>
                  <a:moveTo>
                    <a:pt x="10398" y="8667"/>
                  </a:moveTo>
                  <a:cubicBezTo>
                    <a:pt x="10456" y="8668"/>
                    <a:pt x="10476" y="8652"/>
                    <a:pt x="10480" y="8597"/>
                  </a:cubicBezTo>
                  <a:cubicBezTo>
                    <a:pt x="10484" y="8562"/>
                    <a:pt x="10481" y="8526"/>
                    <a:pt x="10501" y="8495"/>
                  </a:cubicBezTo>
                  <a:cubicBezTo>
                    <a:pt x="10507" y="8485"/>
                    <a:pt x="10507" y="8474"/>
                    <a:pt x="10497" y="8467"/>
                  </a:cubicBezTo>
                  <a:cubicBezTo>
                    <a:pt x="10490" y="8462"/>
                    <a:pt x="10480" y="8464"/>
                    <a:pt x="10474" y="8469"/>
                  </a:cubicBezTo>
                  <a:cubicBezTo>
                    <a:pt x="10446" y="8496"/>
                    <a:pt x="10411" y="8498"/>
                    <a:pt x="10376" y="8503"/>
                  </a:cubicBezTo>
                  <a:cubicBezTo>
                    <a:pt x="10313" y="8511"/>
                    <a:pt x="10272" y="8553"/>
                    <a:pt x="10235" y="8598"/>
                  </a:cubicBezTo>
                  <a:cubicBezTo>
                    <a:pt x="10215" y="8623"/>
                    <a:pt x="10217" y="8675"/>
                    <a:pt x="10238" y="8698"/>
                  </a:cubicBezTo>
                  <a:cubicBezTo>
                    <a:pt x="10262" y="8723"/>
                    <a:pt x="10284" y="8699"/>
                    <a:pt x="10306" y="8692"/>
                  </a:cubicBezTo>
                  <a:cubicBezTo>
                    <a:pt x="10337" y="8682"/>
                    <a:pt x="10365" y="8659"/>
                    <a:pt x="10398" y="8667"/>
                  </a:cubicBezTo>
                  <a:close/>
                  <a:moveTo>
                    <a:pt x="14769" y="2973"/>
                  </a:moveTo>
                  <a:cubicBezTo>
                    <a:pt x="14766" y="2912"/>
                    <a:pt x="14716" y="2810"/>
                    <a:pt x="14670" y="2771"/>
                  </a:cubicBezTo>
                  <a:cubicBezTo>
                    <a:pt x="14655" y="2758"/>
                    <a:pt x="14637" y="2763"/>
                    <a:pt x="14634" y="2786"/>
                  </a:cubicBezTo>
                  <a:cubicBezTo>
                    <a:pt x="14629" y="2816"/>
                    <a:pt x="14629" y="2848"/>
                    <a:pt x="14628" y="2879"/>
                  </a:cubicBezTo>
                  <a:cubicBezTo>
                    <a:pt x="14626" y="2926"/>
                    <a:pt x="14610" y="2964"/>
                    <a:pt x="14566" y="2986"/>
                  </a:cubicBezTo>
                  <a:cubicBezTo>
                    <a:pt x="14556" y="2990"/>
                    <a:pt x="14548" y="2997"/>
                    <a:pt x="14540" y="3003"/>
                  </a:cubicBezTo>
                  <a:cubicBezTo>
                    <a:pt x="14528" y="3012"/>
                    <a:pt x="14515" y="3023"/>
                    <a:pt x="14521" y="3039"/>
                  </a:cubicBezTo>
                  <a:cubicBezTo>
                    <a:pt x="14529" y="3058"/>
                    <a:pt x="14548" y="3063"/>
                    <a:pt x="14563" y="3054"/>
                  </a:cubicBezTo>
                  <a:cubicBezTo>
                    <a:pt x="14605" y="3029"/>
                    <a:pt x="14643" y="3041"/>
                    <a:pt x="14682" y="3057"/>
                  </a:cubicBezTo>
                  <a:cubicBezTo>
                    <a:pt x="14729" y="3075"/>
                    <a:pt x="14744" y="3068"/>
                    <a:pt x="14763" y="3022"/>
                  </a:cubicBezTo>
                  <a:cubicBezTo>
                    <a:pt x="14770" y="3006"/>
                    <a:pt x="14770" y="2990"/>
                    <a:pt x="14769" y="2973"/>
                  </a:cubicBezTo>
                  <a:close/>
                  <a:moveTo>
                    <a:pt x="12122" y="15938"/>
                  </a:moveTo>
                  <a:cubicBezTo>
                    <a:pt x="12127" y="15974"/>
                    <a:pt x="12126" y="16010"/>
                    <a:pt x="12142" y="16043"/>
                  </a:cubicBezTo>
                  <a:cubicBezTo>
                    <a:pt x="12147" y="16052"/>
                    <a:pt x="12153" y="16061"/>
                    <a:pt x="12165" y="16060"/>
                  </a:cubicBezTo>
                  <a:cubicBezTo>
                    <a:pt x="12177" y="16059"/>
                    <a:pt x="12185" y="16051"/>
                    <a:pt x="12188" y="16041"/>
                  </a:cubicBezTo>
                  <a:cubicBezTo>
                    <a:pt x="12192" y="16027"/>
                    <a:pt x="12192" y="16012"/>
                    <a:pt x="12197" y="15998"/>
                  </a:cubicBezTo>
                  <a:cubicBezTo>
                    <a:pt x="12202" y="15985"/>
                    <a:pt x="12214" y="15979"/>
                    <a:pt x="12226" y="15990"/>
                  </a:cubicBezTo>
                  <a:cubicBezTo>
                    <a:pt x="12234" y="15997"/>
                    <a:pt x="12238" y="16007"/>
                    <a:pt x="12246" y="16014"/>
                  </a:cubicBezTo>
                  <a:cubicBezTo>
                    <a:pt x="12262" y="16030"/>
                    <a:pt x="12272" y="16067"/>
                    <a:pt x="12301" y="16050"/>
                  </a:cubicBezTo>
                  <a:cubicBezTo>
                    <a:pt x="12325" y="16035"/>
                    <a:pt x="12310" y="16004"/>
                    <a:pt x="12306" y="15980"/>
                  </a:cubicBezTo>
                  <a:cubicBezTo>
                    <a:pt x="12305" y="15972"/>
                    <a:pt x="12300" y="15964"/>
                    <a:pt x="12297" y="15957"/>
                  </a:cubicBezTo>
                  <a:cubicBezTo>
                    <a:pt x="12275" y="15915"/>
                    <a:pt x="12252" y="15872"/>
                    <a:pt x="12230" y="15830"/>
                  </a:cubicBezTo>
                  <a:cubicBezTo>
                    <a:pt x="12220" y="15811"/>
                    <a:pt x="12206" y="15795"/>
                    <a:pt x="12182" y="15797"/>
                  </a:cubicBezTo>
                  <a:cubicBezTo>
                    <a:pt x="12155" y="15799"/>
                    <a:pt x="12143" y="15818"/>
                    <a:pt x="12135" y="15841"/>
                  </a:cubicBezTo>
                  <a:cubicBezTo>
                    <a:pt x="12124" y="15873"/>
                    <a:pt x="12129" y="15907"/>
                    <a:pt x="12122" y="15938"/>
                  </a:cubicBezTo>
                  <a:close/>
                  <a:moveTo>
                    <a:pt x="16390" y="7119"/>
                  </a:moveTo>
                  <a:cubicBezTo>
                    <a:pt x="16390" y="7105"/>
                    <a:pt x="16393" y="7090"/>
                    <a:pt x="16389" y="7076"/>
                  </a:cubicBezTo>
                  <a:cubicBezTo>
                    <a:pt x="16384" y="7054"/>
                    <a:pt x="16368" y="7034"/>
                    <a:pt x="16346" y="7041"/>
                  </a:cubicBezTo>
                  <a:cubicBezTo>
                    <a:pt x="16310" y="7051"/>
                    <a:pt x="16282" y="7043"/>
                    <a:pt x="16251" y="7027"/>
                  </a:cubicBezTo>
                  <a:cubicBezTo>
                    <a:pt x="16224" y="7014"/>
                    <a:pt x="16210" y="7026"/>
                    <a:pt x="16186" y="7059"/>
                  </a:cubicBezTo>
                  <a:cubicBezTo>
                    <a:pt x="16168" y="7085"/>
                    <a:pt x="16184" y="7099"/>
                    <a:pt x="16201" y="7110"/>
                  </a:cubicBezTo>
                  <a:cubicBezTo>
                    <a:pt x="16261" y="7149"/>
                    <a:pt x="16297" y="7201"/>
                    <a:pt x="16309" y="7271"/>
                  </a:cubicBezTo>
                  <a:cubicBezTo>
                    <a:pt x="16310" y="7279"/>
                    <a:pt x="16314" y="7288"/>
                    <a:pt x="16323" y="7289"/>
                  </a:cubicBezTo>
                  <a:cubicBezTo>
                    <a:pt x="16332" y="7291"/>
                    <a:pt x="16338" y="7285"/>
                    <a:pt x="16343" y="7278"/>
                  </a:cubicBezTo>
                  <a:cubicBezTo>
                    <a:pt x="16370" y="7228"/>
                    <a:pt x="16393" y="7177"/>
                    <a:pt x="16390" y="7119"/>
                  </a:cubicBezTo>
                  <a:close/>
                  <a:moveTo>
                    <a:pt x="9297" y="2506"/>
                  </a:moveTo>
                  <a:cubicBezTo>
                    <a:pt x="9286" y="2467"/>
                    <a:pt x="9279" y="2421"/>
                    <a:pt x="9280" y="2373"/>
                  </a:cubicBezTo>
                  <a:cubicBezTo>
                    <a:pt x="9281" y="2353"/>
                    <a:pt x="9264" y="2339"/>
                    <a:pt x="9249" y="2329"/>
                  </a:cubicBezTo>
                  <a:cubicBezTo>
                    <a:pt x="9218" y="2308"/>
                    <a:pt x="9185" y="2290"/>
                    <a:pt x="9166" y="2256"/>
                  </a:cubicBezTo>
                  <a:cubicBezTo>
                    <a:pt x="9160" y="2245"/>
                    <a:pt x="9146" y="2241"/>
                    <a:pt x="9133" y="2246"/>
                  </a:cubicBezTo>
                  <a:cubicBezTo>
                    <a:pt x="9122" y="2250"/>
                    <a:pt x="9119" y="2261"/>
                    <a:pt x="9119" y="2271"/>
                  </a:cubicBezTo>
                  <a:cubicBezTo>
                    <a:pt x="9117" y="2298"/>
                    <a:pt x="9120" y="2325"/>
                    <a:pt x="9115" y="2352"/>
                  </a:cubicBezTo>
                  <a:cubicBezTo>
                    <a:pt x="9110" y="2389"/>
                    <a:pt x="9122" y="2411"/>
                    <a:pt x="9158" y="2421"/>
                  </a:cubicBezTo>
                  <a:cubicBezTo>
                    <a:pt x="9168" y="2424"/>
                    <a:pt x="9177" y="2431"/>
                    <a:pt x="9187" y="2434"/>
                  </a:cubicBezTo>
                  <a:cubicBezTo>
                    <a:pt x="9214" y="2443"/>
                    <a:pt x="9225" y="2463"/>
                    <a:pt x="9228" y="2490"/>
                  </a:cubicBezTo>
                  <a:cubicBezTo>
                    <a:pt x="9229" y="2502"/>
                    <a:pt x="9230" y="2515"/>
                    <a:pt x="9233" y="2527"/>
                  </a:cubicBezTo>
                  <a:cubicBezTo>
                    <a:pt x="9238" y="2548"/>
                    <a:pt x="9235" y="2580"/>
                    <a:pt x="9265" y="2579"/>
                  </a:cubicBezTo>
                  <a:cubicBezTo>
                    <a:pt x="9297" y="2577"/>
                    <a:pt x="9291" y="2542"/>
                    <a:pt x="9297" y="2520"/>
                  </a:cubicBezTo>
                  <a:cubicBezTo>
                    <a:pt x="9298" y="2518"/>
                    <a:pt x="9297" y="2515"/>
                    <a:pt x="9297" y="2506"/>
                  </a:cubicBezTo>
                  <a:close/>
                  <a:moveTo>
                    <a:pt x="15449" y="7806"/>
                  </a:moveTo>
                  <a:cubicBezTo>
                    <a:pt x="15449" y="7818"/>
                    <a:pt x="15449" y="7830"/>
                    <a:pt x="15450" y="7843"/>
                  </a:cubicBezTo>
                  <a:cubicBezTo>
                    <a:pt x="15451" y="7857"/>
                    <a:pt x="15461" y="7868"/>
                    <a:pt x="15474" y="7866"/>
                  </a:cubicBezTo>
                  <a:cubicBezTo>
                    <a:pt x="15538" y="7853"/>
                    <a:pt x="15604" y="7842"/>
                    <a:pt x="15656" y="7797"/>
                  </a:cubicBezTo>
                  <a:cubicBezTo>
                    <a:pt x="15673" y="7783"/>
                    <a:pt x="15670" y="7765"/>
                    <a:pt x="15651" y="7750"/>
                  </a:cubicBezTo>
                  <a:cubicBezTo>
                    <a:pt x="15630" y="7732"/>
                    <a:pt x="15606" y="7722"/>
                    <a:pt x="15581" y="7713"/>
                  </a:cubicBezTo>
                  <a:cubicBezTo>
                    <a:pt x="15498" y="7683"/>
                    <a:pt x="15447" y="7718"/>
                    <a:pt x="15449" y="7806"/>
                  </a:cubicBezTo>
                  <a:close/>
                  <a:moveTo>
                    <a:pt x="11215" y="3300"/>
                  </a:moveTo>
                  <a:cubicBezTo>
                    <a:pt x="11208" y="3368"/>
                    <a:pt x="11195" y="3430"/>
                    <a:pt x="11178" y="3492"/>
                  </a:cubicBezTo>
                  <a:cubicBezTo>
                    <a:pt x="11173" y="3511"/>
                    <a:pt x="11176" y="3533"/>
                    <a:pt x="11178" y="3554"/>
                  </a:cubicBezTo>
                  <a:cubicBezTo>
                    <a:pt x="11180" y="3569"/>
                    <a:pt x="11196" y="3578"/>
                    <a:pt x="11204" y="3567"/>
                  </a:cubicBezTo>
                  <a:cubicBezTo>
                    <a:pt x="11235" y="3527"/>
                    <a:pt x="11282" y="3523"/>
                    <a:pt x="11322" y="3502"/>
                  </a:cubicBezTo>
                  <a:cubicBezTo>
                    <a:pt x="11354" y="3485"/>
                    <a:pt x="11361" y="3467"/>
                    <a:pt x="11343" y="3437"/>
                  </a:cubicBezTo>
                  <a:cubicBezTo>
                    <a:pt x="11310" y="3385"/>
                    <a:pt x="11262" y="3346"/>
                    <a:pt x="11215" y="3300"/>
                  </a:cubicBezTo>
                  <a:close/>
                  <a:moveTo>
                    <a:pt x="17290" y="5932"/>
                  </a:moveTo>
                  <a:cubicBezTo>
                    <a:pt x="17289" y="5932"/>
                    <a:pt x="17288" y="5932"/>
                    <a:pt x="17287" y="5932"/>
                  </a:cubicBezTo>
                  <a:cubicBezTo>
                    <a:pt x="17287" y="5911"/>
                    <a:pt x="17288" y="5891"/>
                    <a:pt x="17287" y="5870"/>
                  </a:cubicBezTo>
                  <a:cubicBezTo>
                    <a:pt x="17286" y="5857"/>
                    <a:pt x="17282" y="5845"/>
                    <a:pt x="17268" y="5840"/>
                  </a:cubicBezTo>
                  <a:cubicBezTo>
                    <a:pt x="17247" y="5832"/>
                    <a:pt x="17182" y="5851"/>
                    <a:pt x="17174" y="5873"/>
                  </a:cubicBezTo>
                  <a:cubicBezTo>
                    <a:pt x="17163" y="5904"/>
                    <a:pt x="17141" y="5924"/>
                    <a:pt x="17118" y="5945"/>
                  </a:cubicBezTo>
                  <a:cubicBezTo>
                    <a:pt x="17098" y="5962"/>
                    <a:pt x="17102" y="5978"/>
                    <a:pt x="17127" y="5985"/>
                  </a:cubicBezTo>
                  <a:cubicBezTo>
                    <a:pt x="17163" y="5995"/>
                    <a:pt x="17199" y="6004"/>
                    <a:pt x="17236" y="6009"/>
                  </a:cubicBezTo>
                  <a:cubicBezTo>
                    <a:pt x="17279" y="6015"/>
                    <a:pt x="17291" y="6003"/>
                    <a:pt x="17291" y="5957"/>
                  </a:cubicBezTo>
                  <a:cubicBezTo>
                    <a:pt x="17291" y="5949"/>
                    <a:pt x="17290" y="5940"/>
                    <a:pt x="17290" y="5932"/>
                  </a:cubicBezTo>
                  <a:close/>
                  <a:moveTo>
                    <a:pt x="14648" y="9114"/>
                  </a:moveTo>
                  <a:cubicBezTo>
                    <a:pt x="14646" y="9092"/>
                    <a:pt x="14624" y="9080"/>
                    <a:pt x="14611" y="9062"/>
                  </a:cubicBezTo>
                  <a:cubicBezTo>
                    <a:pt x="14592" y="9033"/>
                    <a:pt x="14574" y="9039"/>
                    <a:pt x="14558" y="9062"/>
                  </a:cubicBezTo>
                  <a:cubicBezTo>
                    <a:pt x="14526" y="9109"/>
                    <a:pt x="14515" y="9164"/>
                    <a:pt x="14506" y="9219"/>
                  </a:cubicBezTo>
                  <a:cubicBezTo>
                    <a:pt x="14503" y="9244"/>
                    <a:pt x="14551" y="9285"/>
                    <a:pt x="14578" y="9286"/>
                  </a:cubicBezTo>
                  <a:cubicBezTo>
                    <a:pt x="14590" y="9286"/>
                    <a:pt x="14600" y="9281"/>
                    <a:pt x="14603" y="9271"/>
                  </a:cubicBezTo>
                  <a:cubicBezTo>
                    <a:pt x="14618" y="9220"/>
                    <a:pt x="14633" y="9168"/>
                    <a:pt x="14648" y="9114"/>
                  </a:cubicBezTo>
                  <a:close/>
                  <a:moveTo>
                    <a:pt x="13104" y="1909"/>
                  </a:moveTo>
                  <a:cubicBezTo>
                    <a:pt x="13103" y="1882"/>
                    <a:pt x="13090" y="1866"/>
                    <a:pt x="13081" y="1847"/>
                  </a:cubicBezTo>
                  <a:cubicBezTo>
                    <a:pt x="13051" y="1788"/>
                    <a:pt x="13008" y="1749"/>
                    <a:pt x="12937" y="1745"/>
                  </a:cubicBezTo>
                  <a:cubicBezTo>
                    <a:pt x="12895" y="1743"/>
                    <a:pt x="12858" y="1722"/>
                    <a:pt x="12823" y="1698"/>
                  </a:cubicBezTo>
                  <a:cubicBezTo>
                    <a:pt x="12804" y="1686"/>
                    <a:pt x="12784" y="1674"/>
                    <a:pt x="12765" y="1663"/>
                  </a:cubicBezTo>
                  <a:cubicBezTo>
                    <a:pt x="12757" y="1658"/>
                    <a:pt x="12748" y="1659"/>
                    <a:pt x="12741" y="1665"/>
                  </a:cubicBezTo>
                  <a:cubicBezTo>
                    <a:pt x="12732" y="1672"/>
                    <a:pt x="12731" y="1682"/>
                    <a:pt x="12734" y="1693"/>
                  </a:cubicBezTo>
                  <a:cubicBezTo>
                    <a:pt x="12739" y="1707"/>
                    <a:pt x="12746" y="1719"/>
                    <a:pt x="12761" y="1725"/>
                  </a:cubicBezTo>
                  <a:cubicBezTo>
                    <a:pt x="12778" y="1732"/>
                    <a:pt x="12795" y="1740"/>
                    <a:pt x="12813" y="1746"/>
                  </a:cubicBezTo>
                  <a:cubicBezTo>
                    <a:pt x="12900" y="1777"/>
                    <a:pt x="12978" y="1822"/>
                    <a:pt x="13046" y="1885"/>
                  </a:cubicBezTo>
                  <a:cubicBezTo>
                    <a:pt x="13060" y="1899"/>
                    <a:pt x="13075" y="1915"/>
                    <a:pt x="13104" y="1909"/>
                  </a:cubicBezTo>
                  <a:close/>
                  <a:moveTo>
                    <a:pt x="7186" y="6608"/>
                  </a:moveTo>
                  <a:cubicBezTo>
                    <a:pt x="7241" y="6597"/>
                    <a:pt x="7282" y="6568"/>
                    <a:pt x="7331" y="6560"/>
                  </a:cubicBezTo>
                  <a:cubicBezTo>
                    <a:pt x="7371" y="6553"/>
                    <a:pt x="7376" y="6543"/>
                    <a:pt x="7360" y="6507"/>
                  </a:cubicBezTo>
                  <a:cubicBezTo>
                    <a:pt x="7355" y="6495"/>
                    <a:pt x="7350" y="6484"/>
                    <a:pt x="7343" y="6474"/>
                  </a:cubicBezTo>
                  <a:cubicBezTo>
                    <a:pt x="7322" y="6445"/>
                    <a:pt x="7270" y="6431"/>
                    <a:pt x="7236" y="6443"/>
                  </a:cubicBezTo>
                  <a:cubicBezTo>
                    <a:pt x="7205" y="6454"/>
                    <a:pt x="7190" y="6478"/>
                    <a:pt x="7192" y="6522"/>
                  </a:cubicBezTo>
                  <a:cubicBezTo>
                    <a:pt x="7194" y="6549"/>
                    <a:pt x="7181" y="6574"/>
                    <a:pt x="7186" y="6608"/>
                  </a:cubicBezTo>
                  <a:close/>
                  <a:moveTo>
                    <a:pt x="7408" y="5012"/>
                  </a:moveTo>
                  <a:cubicBezTo>
                    <a:pt x="7409" y="4986"/>
                    <a:pt x="7406" y="4966"/>
                    <a:pt x="7398" y="4946"/>
                  </a:cubicBezTo>
                  <a:cubicBezTo>
                    <a:pt x="7388" y="4922"/>
                    <a:pt x="7377" y="4897"/>
                    <a:pt x="7376" y="4869"/>
                  </a:cubicBezTo>
                  <a:cubicBezTo>
                    <a:pt x="7375" y="4839"/>
                    <a:pt x="7356" y="4831"/>
                    <a:pt x="7330" y="4834"/>
                  </a:cubicBezTo>
                  <a:cubicBezTo>
                    <a:pt x="7315" y="4835"/>
                    <a:pt x="7300" y="4836"/>
                    <a:pt x="7287" y="4840"/>
                  </a:cubicBezTo>
                  <a:cubicBezTo>
                    <a:pt x="7262" y="4850"/>
                    <a:pt x="7232" y="4859"/>
                    <a:pt x="7226" y="4887"/>
                  </a:cubicBezTo>
                  <a:cubicBezTo>
                    <a:pt x="7218" y="4919"/>
                    <a:pt x="7253" y="4928"/>
                    <a:pt x="7273" y="4944"/>
                  </a:cubicBezTo>
                  <a:cubicBezTo>
                    <a:pt x="7278" y="4948"/>
                    <a:pt x="7284" y="4950"/>
                    <a:pt x="7290" y="4953"/>
                  </a:cubicBezTo>
                  <a:cubicBezTo>
                    <a:pt x="7328" y="4969"/>
                    <a:pt x="7358" y="4992"/>
                    <a:pt x="7368" y="5034"/>
                  </a:cubicBezTo>
                  <a:cubicBezTo>
                    <a:pt x="7371" y="5045"/>
                    <a:pt x="7377" y="5055"/>
                    <a:pt x="7389" y="5054"/>
                  </a:cubicBezTo>
                  <a:cubicBezTo>
                    <a:pt x="7404" y="5052"/>
                    <a:pt x="7406" y="5038"/>
                    <a:pt x="7408" y="5026"/>
                  </a:cubicBezTo>
                  <a:cubicBezTo>
                    <a:pt x="7409" y="5020"/>
                    <a:pt x="7408" y="5013"/>
                    <a:pt x="7408" y="5012"/>
                  </a:cubicBezTo>
                  <a:close/>
                  <a:moveTo>
                    <a:pt x="11532" y="7791"/>
                  </a:moveTo>
                  <a:cubicBezTo>
                    <a:pt x="11492" y="7698"/>
                    <a:pt x="11439" y="7620"/>
                    <a:pt x="11368" y="7554"/>
                  </a:cubicBezTo>
                  <a:cubicBezTo>
                    <a:pt x="11345" y="7533"/>
                    <a:pt x="11320" y="7534"/>
                    <a:pt x="11293" y="7547"/>
                  </a:cubicBezTo>
                  <a:cubicBezTo>
                    <a:pt x="11268" y="7559"/>
                    <a:pt x="11265" y="7573"/>
                    <a:pt x="11289" y="7586"/>
                  </a:cubicBezTo>
                  <a:cubicBezTo>
                    <a:pt x="11329" y="7606"/>
                    <a:pt x="11356" y="7640"/>
                    <a:pt x="11388" y="7670"/>
                  </a:cubicBezTo>
                  <a:cubicBezTo>
                    <a:pt x="11422" y="7703"/>
                    <a:pt x="11457" y="7735"/>
                    <a:pt x="11487" y="7773"/>
                  </a:cubicBezTo>
                  <a:cubicBezTo>
                    <a:pt x="11495" y="7784"/>
                    <a:pt x="11505" y="7795"/>
                    <a:pt x="11532" y="7791"/>
                  </a:cubicBezTo>
                  <a:close/>
                  <a:moveTo>
                    <a:pt x="14703" y="3113"/>
                  </a:moveTo>
                  <a:cubicBezTo>
                    <a:pt x="14674" y="3120"/>
                    <a:pt x="14658" y="3137"/>
                    <a:pt x="14644" y="3155"/>
                  </a:cubicBezTo>
                  <a:cubicBezTo>
                    <a:pt x="14605" y="3203"/>
                    <a:pt x="14555" y="3221"/>
                    <a:pt x="14495" y="3211"/>
                  </a:cubicBezTo>
                  <a:cubicBezTo>
                    <a:pt x="14469" y="3206"/>
                    <a:pt x="14450" y="3211"/>
                    <a:pt x="14436" y="3234"/>
                  </a:cubicBezTo>
                  <a:cubicBezTo>
                    <a:pt x="14430" y="3243"/>
                    <a:pt x="14429" y="3253"/>
                    <a:pt x="14437" y="3262"/>
                  </a:cubicBezTo>
                  <a:cubicBezTo>
                    <a:pt x="14472" y="3304"/>
                    <a:pt x="14541" y="3311"/>
                    <a:pt x="14582" y="3274"/>
                  </a:cubicBezTo>
                  <a:cubicBezTo>
                    <a:pt x="14616" y="3244"/>
                    <a:pt x="14649" y="3211"/>
                    <a:pt x="14680" y="3178"/>
                  </a:cubicBezTo>
                  <a:cubicBezTo>
                    <a:pt x="14695" y="3162"/>
                    <a:pt x="14710" y="3144"/>
                    <a:pt x="14703" y="3113"/>
                  </a:cubicBezTo>
                  <a:close/>
                  <a:moveTo>
                    <a:pt x="3391" y="13606"/>
                  </a:moveTo>
                  <a:cubicBezTo>
                    <a:pt x="3395" y="13573"/>
                    <a:pt x="3386" y="13544"/>
                    <a:pt x="3361" y="13522"/>
                  </a:cubicBezTo>
                  <a:cubicBezTo>
                    <a:pt x="3351" y="13514"/>
                    <a:pt x="3340" y="13507"/>
                    <a:pt x="3326" y="13513"/>
                  </a:cubicBezTo>
                  <a:cubicBezTo>
                    <a:pt x="3301" y="13524"/>
                    <a:pt x="3264" y="13589"/>
                    <a:pt x="3268" y="13616"/>
                  </a:cubicBezTo>
                  <a:cubicBezTo>
                    <a:pt x="3275" y="13660"/>
                    <a:pt x="3304" y="13685"/>
                    <a:pt x="3341" y="13703"/>
                  </a:cubicBezTo>
                  <a:cubicBezTo>
                    <a:pt x="3362" y="13713"/>
                    <a:pt x="3378" y="13702"/>
                    <a:pt x="3382" y="13680"/>
                  </a:cubicBezTo>
                  <a:cubicBezTo>
                    <a:pt x="3387" y="13656"/>
                    <a:pt x="3388" y="13631"/>
                    <a:pt x="3391" y="13606"/>
                  </a:cubicBezTo>
                  <a:close/>
                  <a:moveTo>
                    <a:pt x="10170" y="6170"/>
                  </a:moveTo>
                  <a:cubicBezTo>
                    <a:pt x="10191" y="6168"/>
                    <a:pt x="10210" y="6164"/>
                    <a:pt x="10217" y="6144"/>
                  </a:cubicBezTo>
                  <a:cubicBezTo>
                    <a:pt x="10225" y="6122"/>
                    <a:pt x="10212" y="6109"/>
                    <a:pt x="10196" y="6096"/>
                  </a:cubicBezTo>
                  <a:cubicBezTo>
                    <a:pt x="10177" y="6081"/>
                    <a:pt x="10157" y="6066"/>
                    <a:pt x="10140" y="6048"/>
                  </a:cubicBezTo>
                  <a:cubicBezTo>
                    <a:pt x="10097" y="6000"/>
                    <a:pt x="10097" y="5999"/>
                    <a:pt x="10067" y="6054"/>
                  </a:cubicBezTo>
                  <a:cubicBezTo>
                    <a:pt x="10060" y="6069"/>
                    <a:pt x="10051" y="6084"/>
                    <a:pt x="10046" y="6099"/>
                  </a:cubicBezTo>
                  <a:cubicBezTo>
                    <a:pt x="10035" y="6131"/>
                    <a:pt x="10052" y="6160"/>
                    <a:pt x="10085" y="6162"/>
                  </a:cubicBezTo>
                  <a:cubicBezTo>
                    <a:pt x="10114" y="6164"/>
                    <a:pt x="10143" y="6163"/>
                    <a:pt x="10170" y="6170"/>
                  </a:cubicBezTo>
                  <a:close/>
                  <a:moveTo>
                    <a:pt x="11068" y="7348"/>
                  </a:moveTo>
                  <a:cubicBezTo>
                    <a:pt x="11069" y="7348"/>
                    <a:pt x="11065" y="7348"/>
                    <a:pt x="11061" y="7348"/>
                  </a:cubicBezTo>
                  <a:cubicBezTo>
                    <a:pt x="11040" y="7349"/>
                    <a:pt x="11016" y="7346"/>
                    <a:pt x="11008" y="7371"/>
                  </a:cubicBezTo>
                  <a:cubicBezTo>
                    <a:pt x="10998" y="7400"/>
                    <a:pt x="11023" y="7414"/>
                    <a:pt x="11042" y="7423"/>
                  </a:cubicBezTo>
                  <a:cubicBezTo>
                    <a:pt x="11095" y="7449"/>
                    <a:pt x="11154" y="7442"/>
                    <a:pt x="11211" y="7441"/>
                  </a:cubicBezTo>
                  <a:cubicBezTo>
                    <a:pt x="11229" y="7440"/>
                    <a:pt x="11232" y="7417"/>
                    <a:pt x="11214" y="7402"/>
                  </a:cubicBezTo>
                  <a:cubicBezTo>
                    <a:pt x="11174" y="7368"/>
                    <a:pt x="11129" y="7342"/>
                    <a:pt x="11068" y="7348"/>
                  </a:cubicBezTo>
                  <a:close/>
                  <a:moveTo>
                    <a:pt x="15696" y="11222"/>
                  </a:moveTo>
                  <a:cubicBezTo>
                    <a:pt x="15723" y="11216"/>
                    <a:pt x="15743" y="11217"/>
                    <a:pt x="15753" y="11208"/>
                  </a:cubicBezTo>
                  <a:cubicBezTo>
                    <a:pt x="15781" y="11182"/>
                    <a:pt x="15816" y="11179"/>
                    <a:pt x="15849" y="11168"/>
                  </a:cubicBezTo>
                  <a:cubicBezTo>
                    <a:pt x="15904" y="11151"/>
                    <a:pt x="15916" y="11115"/>
                    <a:pt x="15889" y="11063"/>
                  </a:cubicBezTo>
                  <a:cubicBezTo>
                    <a:pt x="15871" y="11031"/>
                    <a:pt x="15848" y="11026"/>
                    <a:pt x="15828" y="11058"/>
                  </a:cubicBezTo>
                  <a:cubicBezTo>
                    <a:pt x="15800" y="11105"/>
                    <a:pt x="15763" y="11144"/>
                    <a:pt x="15724" y="11181"/>
                  </a:cubicBezTo>
                  <a:cubicBezTo>
                    <a:pt x="15716" y="11190"/>
                    <a:pt x="15710" y="11201"/>
                    <a:pt x="15696" y="11222"/>
                  </a:cubicBezTo>
                  <a:close/>
                  <a:moveTo>
                    <a:pt x="8716" y="1788"/>
                  </a:moveTo>
                  <a:cubicBezTo>
                    <a:pt x="8716" y="1766"/>
                    <a:pt x="8697" y="1737"/>
                    <a:pt x="8663" y="1716"/>
                  </a:cubicBezTo>
                  <a:cubicBezTo>
                    <a:pt x="8613" y="1684"/>
                    <a:pt x="8560" y="1656"/>
                    <a:pt x="8515" y="1615"/>
                  </a:cubicBezTo>
                  <a:cubicBezTo>
                    <a:pt x="8505" y="1606"/>
                    <a:pt x="8495" y="1599"/>
                    <a:pt x="8484" y="1611"/>
                  </a:cubicBezTo>
                  <a:cubicBezTo>
                    <a:pt x="8477" y="1620"/>
                    <a:pt x="8483" y="1630"/>
                    <a:pt x="8490" y="1639"/>
                  </a:cubicBezTo>
                  <a:cubicBezTo>
                    <a:pt x="8543" y="1705"/>
                    <a:pt x="8613" y="1754"/>
                    <a:pt x="8675" y="1811"/>
                  </a:cubicBezTo>
                  <a:cubicBezTo>
                    <a:pt x="8682" y="1818"/>
                    <a:pt x="8693" y="1823"/>
                    <a:pt x="8704" y="1815"/>
                  </a:cubicBezTo>
                  <a:cubicBezTo>
                    <a:pt x="8713" y="1808"/>
                    <a:pt x="8716" y="1799"/>
                    <a:pt x="8716" y="1788"/>
                  </a:cubicBezTo>
                  <a:close/>
                  <a:moveTo>
                    <a:pt x="7152" y="5149"/>
                  </a:moveTo>
                  <a:lnTo>
                    <a:pt x="7152" y="5148"/>
                  </a:lnTo>
                  <a:cubicBezTo>
                    <a:pt x="7165" y="5148"/>
                    <a:pt x="7177" y="5148"/>
                    <a:pt x="7189" y="5147"/>
                  </a:cubicBezTo>
                  <a:cubicBezTo>
                    <a:pt x="7193" y="5147"/>
                    <a:pt x="7198" y="5146"/>
                    <a:pt x="7201" y="5145"/>
                  </a:cubicBezTo>
                  <a:cubicBezTo>
                    <a:pt x="7228" y="5135"/>
                    <a:pt x="7236" y="5114"/>
                    <a:pt x="7216" y="5093"/>
                  </a:cubicBezTo>
                  <a:cubicBezTo>
                    <a:pt x="7190" y="5066"/>
                    <a:pt x="7169" y="5036"/>
                    <a:pt x="7155" y="5001"/>
                  </a:cubicBezTo>
                  <a:cubicBezTo>
                    <a:pt x="7150" y="4990"/>
                    <a:pt x="7143" y="4978"/>
                    <a:pt x="7128" y="4981"/>
                  </a:cubicBezTo>
                  <a:cubicBezTo>
                    <a:pt x="7117" y="4983"/>
                    <a:pt x="7112" y="4994"/>
                    <a:pt x="7111" y="5004"/>
                  </a:cubicBezTo>
                  <a:cubicBezTo>
                    <a:pt x="7107" y="5033"/>
                    <a:pt x="7097" y="5060"/>
                    <a:pt x="7088" y="5087"/>
                  </a:cubicBezTo>
                  <a:cubicBezTo>
                    <a:pt x="7073" y="5131"/>
                    <a:pt x="7087" y="5148"/>
                    <a:pt x="7134" y="5149"/>
                  </a:cubicBezTo>
                  <a:cubicBezTo>
                    <a:pt x="7140" y="5149"/>
                    <a:pt x="7146" y="5149"/>
                    <a:pt x="7152" y="5149"/>
                  </a:cubicBezTo>
                  <a:close/>
                  <a:moveTo>
                    <a:pt x="7705" y="5007"/>
                  </a:moveTo>
                  <a:cubicBezTo>
                    <a:pt x="7705" y="4999"/>
                    <a:pt x="7702" y="4990"/>
                    <a:pt x="7694" y="4986"/>
                  </a:cubicBezTo>
                  <a:cubicBezTo>
                    <a:pt x="7663" y="4970"/>
                    <a:pt x="7650" y="4938"/>
                    <a:pt x="7629" y="4913"/>
                  </a:cubicBezTo>
                  <a:cubicBezTo>
                    <a:pt x="7608" y="4887"/>
                    <a:pt x="7582" y="4867"/>
                    <a:pt x="7551" y="4854"/>
                  </a:cubicBezTo>
                  <a:cubicBezTo>
                    <a:pt x="7541" y="4849"/>
                    <a:pt x="7530" y="4849"/>
                    <a:pt x="7524" y="4859"/>
                  </a:cubicBezTo>
                  <a:cubicBezTo>
                    <a:pt x="7518" y="4869"/>
                    <a:pt x="7521" y="4879"/>
                    <a:pt x="7529" y="4887"/>
                  </a:cubicBezTo>
                  <a:cubicBezTo>
                    <a:pt x="7533" y="4891"/>
                    <a:pt x="7538" y="4896"/>
                    <a:pt x="7543" y="4899"/>
                  </a:cubicBezTo>
                  <a:cubicBezTo>
                    <a:pt x="7594" y="4935"/>
                    <a:pt x="7624" y="4980"/>
                    <a:pt x="7618" y="5045"/>
                  </a:cubicBezTo>
                  <a:cubicBezTo>
                    <a:pt x="7617" y="5055"/>
                    <a:pt x="7621" y="5065"/>
                    <a:pt x="7626" y="5074"/>
                  </a:cubicBezTo>
                  <a:cubicBezTo>
                    <a:pt x="7629" y="5082"/>
                    <a:pt x="7638" y="5085"/>
                    <a:pt x="7647" y="5084"/>
                  </a:cubicBezTo>
                  <a:cubicBezTo>
                    <a:pt x="7663" y="5081"/>
                    <a:pt x="7705" y="5024"/>
                    <a:pt x="7705" y="5007"/>
                  </a:cubicBezTo>
                  <a:close/>
                  <a:moveTo>
                    <a:pt x="11132" y="3196"/>
                  </a:moveTo>
                  <a:cubicBezTo>
                    <a:pt x="11127" y="3169"/>
                    <a:pt x="11128" y="3142"/>
                    <a:pt x="11117" y="3121"/>
                  </a:cubicBezTo>
                  <a:cubicBezTo>
                    <a:pt x="11096" y="3078"/>
                    <a:pt x="11061" y="3046"/>
                    <a:pt x="11012" y="3035"/>
                  </a:cubicBezTo>
                  <a:cubicBezTo>
                    <a:pt x="10990" y="3030"/>
                    <a:pt x="10981" y="3043"/>
                    <a:pt x="10991" y="3064"/>
                  </a:cubicBezTo>
                  <a:cubicBezTo>
                    <a:pt x="11020" y="3118"/>
                    <a:pt x="11050" y="3172"/>
                    <a:pt x="11080" y="3227"/>
                  </a:cubicBezTo>
                  <a:cubicBezTo>
                    <a:pt x="11085" y="3236"/>
                    <a:pt x="11090" y="3247"/>
                    <a:pt x="11100" y="3247"/>
                  </a:cubicBezTo>
                  <a:cubicBezTo>
                    <a:pt x="11115" y="3248"/>
                    <a:pt x="11121" y="3235"/>
                    <a:pt x="11125" y="3223"/>
                  </a:cubicBezTo>
                  <a:cubicBezTo>
                    <a:pt x="11129" y="3214"/>
                    <a:pt x="11130" y="3204"/>
                    <a:pt x="11132" y="3196"/>
                  </a:cubicBezTo>
                  <a:close/>
                  <a:moveTo>
                    <a:pt x="8544" y="16111"/>
                  </a:moveTo>
                  <a:cubicBezTo>
                    <a:pt x="8546" y="16043"/>
                    <a:pt x="8507" y="15999"/>
                    <a:pt x="8458" y="15960"/>
                  </a:cubicBezTo>
                  <a:cubicBezTo>
                    <a:pt x="8448" y="15952"/>
                    <a:pt x="8437" y="15945"/>
                    <a:pt x="8424" y="15955"/>
                  </a:cubicBezTo>
                  <a:cubicBezTo>
                    <a:pt x="8414" y="15962"/>
                    <a:pt x="8418" y="15973"/>
                    <a:pt x="8420" y="15983"/>
                  </a:cubicBezTo>
                  <a:cubicBezTo>
                    <a:pt x="8433" y="16047"/>
                    <a:pt x="8476" y="16094"/>
                    <a:pt x="8511" y="16145"/>
                  </a:cubicBezTo>
                  <a:cubicBezTo>
                    <a:pt x="8521" y="16160"/>
                    <a:pt x="8539" y="16154"/>
                    <a:pt x="8542" y="16136"/>
                  </a:cubicBezTo>
                  <a:cubicBezTo>
                    <a:pt x="8544" y="16128"/>
                    <a:pt x="8543" y="16119"/>
                    <a:pt x="8544" y="16111"/>
                  </a:cubicBezTo>
                  <a:close/>
                  <a:moveTo>
                    <a:pt x="12415" y="3335"/>
                  </a:moveTo>
                  <a:cubicBezTo>
                    <a:pt x="12434" y="3300"/>
                    <a:pt x="12427" y="3266"/>
                    <a:pt x="12427" y="3234"/>
                  </a:cubicBezTo>
                  <a:cubicBezTo>
                    <a:pt x="12428" y="3221"/>
                    <a:pt x="12419" y="3212"/>
                    <a:pt x="12406" y="3207"/>
                  </a:cubicBezTo>
                  <a:cubicBezTo>
                    <a:pt x="12371" y="3196"/>
                    <a:pt x="12336" y="3195"/>
                    <a:pt x="12301" y="3202"/>
                  </a:cubicBezTo>
                  <a:cubicBezTo>
                    <a:pt x="12281" y="3207"/>
                    <a:pt x="12275" y="3226"/>
                    <a:pt x="12292" y="3240"/>
                  </a:cubicBezTo>
                  <a:cubicBezTo>
                    <a:pt x="12331" y="3272"/>
                    <a:pt x="12372" y="3302"/>
                    <a:pt x="12415" y="3335"/>
                  </a:cubicBezTo>
                  <a:close/>
                  <a:moveTo>
                    <a:pt x="15042" y="9889"/>
                  </a:moveTo>
                  <a:cubicBezTo>
                    <a:pt x="15021" y="9889"/>
                    <a:pt x="15017" y="9899"/>
                    <a:pt x="15023" y="9913"/>
                  </a:cubicBezTo>
                  <a:cubicBezTo>
                    <a:pt x="15027" y="9922"/>
                    <a:pt x="15035" y="9930"/>
                    <a:pt x="15043" y="9936"/>
                  </a:cubicBezTo>
                  <a:cubicBezTo>
                    <a:pt x="15076" y="9964"/>
                    <a:pt x="15111" y="9989"/>
                    <a:pt x="15118" y="10038"/>
                  </a:cubicBezTo>
                  <a:cubicBezTo>
                    <a:pt x="15120" y="10056"/>
                    <a:pt x="15139" y="10059"/>
                    <a:pt x="15151" y="10046"/>
                  </a:cubicBezTo>
                  <a:cubicBezTo>
                    <a:pt x="15164" y="10032"/>
                    <a:pt x="15174" y="10016"/>
                    <a:pt x="15184" y="10000"/>
                  </a:cubicBezTo>
                  <a:cubicBezTo>
                    <a:pt x="15191" y="9989"/>
                    <a:pt x="15189" y="9973"/>
                    <a:pt x="15180" y="9966"/>
                  </a:cubicBezTo>
                  <a:cubicBezTo>
                    <a:pt x="15137" y="9933"/>
                    <a:pt x="15090" y="9907"/>
                    <a:pt x="15042" y="9889"/>
                  </a:cubicBezTo>
                  <a:close/>
                  <a:moveTo>
                    <a:pt x="15346" y="6639"/>
                  </a:moveTo>
                  <a:cubicBezTo>
                    <a:pt x="15354" y="6638"/>
                    <a:pt x="15368" y="6640"/>
                    <a:pt x="15374" y="6626"/>
                  </a:cubicBezTo>
                  <a:cubicBezTo>
                    <a:pt x="15382" y="6609"/>
                    <a:pt x="15371" y="6598"/>
                    <a:pt x="15359" y="6589"/>
                  </a:cubicBezTo>
                  <a:cubicBezTo>
                    <a:pt x="15334" y="6571"/>
                    <a:pt x="15307" y="6555"/>
                    <a:pt x="15281" y="6537"/>
                  </a:cubicBezTo>
                  <a:cubicBezTo>
                    <a:pt x="15265" y="6526"/>
                    <a:pt x="15248" y="6516"/>
                    <a:pt x="15230" y="6530"/>
                  </a:cubicBezTo>
                  <a:cubicBezTo>
                    <a:pt x="15214" y="6543"/>
                    <a:pt x="15217" y="6564"/>
                    <a:pt x="15219" y="6583"/>
                  </a:cubicBezTo>
                  <a:cubicBezTo>
                    <a:pt x="15221" y="6603"/>
                    <a:pt x="15227" y="6623"/>
                    <a:pt x="15250" y="6623"/>
                  </a:cubicBezTo>
                  <a:cubicBezTo>
                    <a:pt x="15282" y="6624"/>
                    <a:pt x="15311" y="6637"/>
                    <a:pt x="15346" y="6639"/>
                  </a:cubicBezTo>
                  <a:close/>
                  <a:moveTo>
                    <a:pt x="14880" y="7082"/>
                  </a:moveTo>
                  <a:cubicBezTo>
                    <a:pt x="14877" y="7064"/>
                    <a:pt x="14863" y="7059"/>
                    <a:pt x="14848" y="7063"/>
                  </a:cubicBezTo>
                  <a:cubicBezTo>
                    <a:pt x="14818" y="7069"/>
                    <a:pt x="14790" y="7085"/>
                    <a:pt x="14767" y="7104"/>
                  </a:cubicBezTo>
                  <a:cubicBezTo>
                    <a:pt x="14747" y="7122"/>
                    <a:pt x="14740" y="7151"/>
                    <a:pt x="14743" y="7178"/>
                  </a:cubicBezTo>
                  <a:cubicBezTo>
                    <a:pt x="14744" y="7195"/>
                    <a:pt x="14757" y="7206"/>
                    <a:pt x="14773" y="7197"/>
                  </a:cubicBezTo>
                  <a:cubicBezTo>
                    <a:pt x="14820" y="7173"/>
                    <a:pt x="14850" y="7131"/>
                    <a:pt x="14879" y="7089"/>
                  </a:cubicBezTo>
                  <a:cubicBezTo>
                    <a:pt x="14880" y="7087"/>
                    <a:pt x="14880" y="7085"/>
                    <a:pt x="14880" y="7082"/>
                  </a:cubicBezTo>
                  <a:close/>
                  <a:moveTo>
                    <a:pt x="9207" y="6509"/>
                  </a:moveTo>
                  <a:cubicBezTo>
                    <a:pt x="9208" y="6513"/>
                    <a:pt x="9208" y="6520"/>
                    <a:pt x="9210" y="6526"/>
                  </a:cubicBezTo>
                  <a:cubicBezTo>
                    <a:pt x="9216" y="6545"/>
                    <a:pt x="9211" y="6571"/>
                    <a:pt x="9234" y="6580"/>
                  </a:cubicBezTo>
                  <a:cubicBezTo>
                    <a:pt x="9260" y="6591"/>
                    <a:pt x="9266" y="6560"/>
                    <a:pt x="9283" y="6550"/>
                  </a:cubicBezTo>
                  <a:cubicBezTo>
                    <a:pt x="9298" y="6540"/>
                    <a:pt x="9318" y="6528"/>
                    <a:pt x="9314" y="6507"/>
                  </a:cubicBezTo>
                  <a:cubicBezTo>
                    <a:pt x="9310" y="6482"/>
                    <a:pt x="9283" y="6484"/>
                    <a:pt x="9265" y="6475"/>
                  </a:cubicBezTo>
                  <a:cubicBezTo>
                    <a:pt x="9259" y="6473"/>
                    <a:pt x="9253" y="6472"/>
                    <a:pt x="9246" y="6472"/>
                  </a:cubicBezTo>
                  <a:cubicBezTo>
                    <a:pt x="9219" y="6470"/>
                    <a:pt x="9208" y="6481"/>
                    <a:pt x="9207" y="6509"/>
                  </a:cubicBezTo>
                  <a:close/>
                  <a:moveTo>
                    <a:pt x="2585" y="16115"/>
                  </a:moveTo>
                  <a:cubicBezTo>
                    <a:pt x="2572" y="16116"/>
                    <a:pt x="2568" y="16124"/>
                    <a:pt x="2566" y="16135"/>
                  </a:cubicBezTo>
                  <a:cubicBezTo>
                    <a:pt x="2561" y="16175"/>
                    <a:pt x="2588" y="16223"/>
                    <a:pt x="2627" y="16242"/>
                  </a:cubicBezTo>
                  <a:cubicBezTo>
                    <a:pt x="2637" y="16247"/>
                    <a:pt x="2647" y="16249"/>
                    <a:pt x="2656" y="16241"/>
                  </a:cubicBezTo>
                  <a:cubicBezTo>
                    <a:pt x="2667" y="16232"/>
                    <a:pt x="2667" y="16220"/>
                    <a:pt x="2660" y="16208"/>
                  </a:cubicBezTo>
                  <a:cubicBezTo>
                    <a:pt x="2648" y="16186"/>
                    <a:pt x="2636" y="16165"/>
                    <a:pt x="2624" y="16143"/>
                  </a:cubicBezTo>
                  <a:cubicBezTo>
                    <a:pt x="2615" y="16128"/>
                    <a:pt x="2602" y="16119"/>
                    <a:pt x="2585" y="16115"/>
                  </a:cubicBezTo>
                  <a:close/>
                  <a:moveTo>
                    <a:pt x="10574" y="15961"/>
                  </a:moveTo>
                  <a:cubicBezTo>
                    <a:pt x="10576" y="15948"/>
                    <a:pt x="10575" y="15938"/>
                    <a:pt x="10567" y="15930"/>
                  </a:cubicBezTo>
                  <a:cubicBezTo>
                    <a:pt x="10562" y="15926"/>
                    <a:pt x="10554" y="15926"/>
                    <a:pt x="10551" y="15931"/>
                  </a:cubicBezTo>
                  <a:cubicBezTo>
                    <a:pt x="10528" y="15965"/>
                    <a:pt x="10505" y="15999"/>
                    <a:pt x="10484" y="16034"/>
                  </a:cubicBezTo>
                  <a:cubicBezTo>
                    <a:pt x="10478" y="16043"/>
                    <a:pt x="10479" y="16054"/>
                    <a:pt x="10488" y="16062"/>
                  </a:cubicBezTo>
                  <a:cubicBezTo>
                    <a:pt x="10500" y="16072"/>
                    <a:pt x="10512" y="16068"/>
                    <a:pt x="10521" y="16059"/>
                  </a:cubicBezTo>
                  <a:cubicBezTo>
                    <a:pt x="10549" y="16031"/>
                    <a:pt x="10572" y="16000"/>
                    <a:pt x="10574" y="15961"/>
                  </a:cubicBezTo>
                  <a:close/>
                  <a:moveTo>
                    <a:pt x="5207" y="16172"/>
                  </a:moveTo>
                  <a:cubicBezTo>
                    <a:pt x="5209" y="16137"/>
                    <a:pt x="5187" y="16110"/>
                    <a:pt x="5174" y="16080"/>
                  </a:cubicBezTo>
                  <a:cubicBezTo>
                    <a:pt x="5169" y="16069"/>
                    <a:pt x="5161" y="16058"/>
                    <a:pt x="5146" y="16063"/>
                  </a:cubicBezTo>
                  <a:cubicBezTo>
                    <a:pt x="5132" y="16069"/>
                    <a:pt x="5130" y="16083"/>
                    <a:pt x="5133" y="16094"/>
                  </a:cubicBezTo>
                  <a:cubicBezTo>
                    <a:pt x="5146" y="16133"/>
                    <a:pt x="5159" y="16172"/>
                    <a:pt x="5175" y="16210"/>
                  </a:cubicBezTo>
                  <a:cubicBezTo>
                    <a:pt x="5180" y="16222"/>
                    <a:pt x="5193" y="16218"/>
                    <a:pt x="5198" y="16208"/>
                  </a:cubicBezTo>
                  <a:cubicBezTo>
                    <a:pt x="5204" y="16197"/>
                    <a:pt x="5204" y="16184"/>
                    <a:pt x="5207" y="16172"/>
                  </a:cubicBezTo>
                  <a:close/>
                  <a:moveTo>
                    <a:pt x="3131" y="16214"/>
                  </a:moveTo>
                  <a:cubicBezTo>
                    <a:pt x="3132" y="16226"/>
                    <a:pt x="3131" y="16249"/>
                    <a:pt x="3144" y="16268"/>
                  </a:cubicBezTo>
                  <a:cubicBezTo>
                    <a:pt x="3152" y="16280"/>
                    <a:pt x="3163" y="16284"/>
                    <a:pt x="3176" y="16281"/>
                  </a:cubicBezTo>
                  <a:cubicBezTo>
                    <a:pt x="3187" y="16278"/>
                    <a:pt x="3190" y="16268"/>
                    <a:pt x="3192" y="16257"/>
                  </a:cubicBezTo>
                  <a:cubicBezTo>
                    <a:pt x="3195" y="16234"/>
                    <a:pt x="3188" y="16213"/>
                    <a:pt x="3180" y="16192"/>
                  </a:cubicBezTo>
                  <a:cubicBezTo>
                    <a:pt x="3174" y="16176"/>
                    <a:pt x="3177" y="16149"/>
                    <a:pt x="3152" y="16152"/>
                  </a:cubicBezTo>
                  <a:cubicBezTo>
                    <a:pt x="3130" y="16155"/>
                    <a:pt x="3131" y="16179"/>
                    <a:pt x="3131" y="16197"/>
                  </a:cubicBezTo>
                  <a:cubicBezTo>
                    <a:pt x="3131" y="16199"/>
                    <a:pt x="3131" y="16201"/>
                    <a:pt x="3131" y="16214"/>
                  </a:cubicBezTo>
                  <a:close/>
                  <a:moveTo>
                    <a:pt x="5267" y="16070"/>
                  </a:moveTo>
                  <a:cubicBezTo>
                    <a:pt x="5268" y="16033"/>
                    <a:pt x="5204" y="15977"/>
                    <a:pt x="5167" y="15984"/>
                  </a:cubicBezTo>
                  <a:cubicBezTo>
                    <a:pt x="5153" y="15986"/>
                    <a:pt x="5144" y="15996"/>
                    <a:pt x="5154" y="16010"/>
                  </a:cubicBezTo>
                  <a:cubicBezTo>
                    <a:pt x="5179" y="16040"/>
                    <a:pt x="5211" y="16063"/>
                    <a:pt x="5245" y="16082"/>
                  </a:cubicBezTo>
                  <a:cubicBezTo>
                    <a:pt x="5256" y="16089"/>
                    <a:pt x="5264" y="16081"/>
                    <a:pt x="5267" y="16070"/>
                  </a:cubicBezTo>
                  <a:close/>
                  <a:moveTo>
                    <a:pt x="14816" y="6902"/>
                  </a:moveTo>
                  <a:cubicBezTo>
                    <a:pt x="14835" y="6899"/>
                    <a:pt x="14855" y="6904"/>
                    <a:pt x="14861" y="6883"/>
                  </a:cubicBezTo>
                  <a:cubicBezTo>
                    <a:pt x="14865" y="6865"/>
                    <a:pt x="14847" y="6860"/>
                    <a:pt x="14836" y="6852"/>
                  </a:cubicBezTo>
                  <a:cubicBezTo>
                    <a:pt x="14828" y="6845"/>
                    <a:pt x="14820" y="6840"/>
                    <a:pt x="14811" y="6834"/>
                  </a:cubicBezTo>
                  <a:cubicBezTo>
                    <a:pt x="14794" y="6825"/>
                    <a:pt x="14777" y="6818"/>
                    <a:pt x="14764" y="6841"/>
                  </a:cubicBezTo>
                  <a:cubicBezTo>
                    <a:pt x="14752" y="6861"/>
                    <a:pt x="14761" y="6888"/>
                    <a:pt x="14783" y="6897"/>
                  </a:cubicBezTo>
                  <a:cubicBezTo>
                    <a:pt x="14795" y="6901"/>
                    <a:pt x="14807" y="6901"/>
                    <a:pt x="14816" y="6902"/>
                  </a:cubicBezTo>
                  <a:close/>
                  <a:moveTo>
                    <a:pt x="14536" y="7730"/>
                  </a:moveTo>
                  <a:cubicBezTo>
                    <a:pt x="14537" y="7698"/>
                    <a:pt x="14476" y="7653"/>
                    <a:pt x="14444" y="7662"/>
                  </a:cubicBezTo>
                  <a:cubicBezTo>
                    <a:pt x="14432" y="7666"/>
                    <a:pt x="14426" y="7678"/>
                    <a:pt x="14434" y="7686"/>
                  </a:cubicBezTo>
                  <a:cubicBezTo>
                    <a:pt x="14455" y="7708"/>
                    <a:pt x="14478" y="7730"/>
                    <a:pt x="14503" y="7747"/>
                  </a:cubicBezTo>
                  <a:cubicBezTo>
                    <a:pt x="14516" y="7756"/>
                    <a:pt x="14531" y="7747"/>
                    <a:pt x="14536" y="7730"/>
                  </a:cubicBezTo>
                  <a:close/>
                  <a:moveTo>
                    <a:pt x="10612" y="3838"/>
                  </a:moveTo>
                  <a:cubicBezTo>
                    <a:pt x="10593" y="3839"/>
                    <a:pt x="10580" y="3850"/>
                    <a:pt x="10576" y="3867"/>
                  </a:cubicBezTo>
                  <a:cubicBezTo>
                    <a:pt x="10571" y="3887"/>
                    <a:pt x="10587" y="3892"/>
                    <a:pt x="10602" y="3893"/>
                  </a:cubicBezTo>
                  <a:cubicBezTo>
                    <a:pt x="10616" y="3894"/>
                    <a:pt x="10634" y="3893"/>
                    <a:pt x="10637" y="3876"/>
                  </a:cubicBezTo>
                  <a:cubicBezTo>
                    <a:pt x="10640" y="3859"/>
                    <a:pt x="10630" y="3844"/>
                    <a:pt x="10612" y="3838"/>
                  </a:cubicBezTo>
                  <a:close/>
                  <a:moveTo>
                    <a:pt x="1476" y="15871"/>
                  </a:moveTo>
                  <a:cubicBezTo>
                    <a:pt x="1467" y="15881"/>
                    <a:pt x="1472" y="15891"/>
                    <a:pt x="1476" y="15900"/>
                  </a:cubicBezTo>
                  <a:cubicBezTo>
                    <a:pt x="1484" y="15916"/>
                    <a:pt x="1485" y="15938"/>
                    <a:pt x="1508" y="15941"/>
                  </a:cubicBezTo>
                  <a:cubicBezTo>
                    <a:pt x="1511" y="15942"/>
                    <a:pt x="1517" y="15938"/>
                    <a:pt x="1517" y="15935"/>
                  </a:cubicBezTo>
                  <a:cubicBezTo>
                    <a:pt x="1521" y="15915"/>
                    <a:pt x="1516" y="15898"/>
                    <a:pt x="1502" y="15884"/>
                  </a:cubicBezTo>
                  <a:cubicBezTo>
                    <a:pt x="1495" y="15876"/>
                    <a:pt x="1488" y="15869"/>
                    <a:pt x="1476" y="15871"/>
                  </a:cubicBezTo>
                  <a:close/>
                  <a:moveTo>
                    <a:pt x="13934" y="7130"/>
                  </a:moveTo>
                  <a:cubicBezTo>
                    <a:pt x="13931" y="7117"/>
                    <a:pt x="13924" y="7113"/>
                    <a:pt x="13916" y="7115"/>
                  </a:cubicBezTo>
                  <a:cubicBezTo>
                    <a:pt x="13900" y="7120"/>
                    <a:pt x="13883" y="7124"/>
                    <a:pt x="13885" y="7146"/>
                  </a:cubicBezTo>
                  <a:cubicBezTo>
                    <a:pt x="13886" y="7156"/>
                    <a:pt x="13894" y="7159"/>
                    <a:pt x="13903" y="7157"/>
                  </a:cubicBezTo>
                  <a:cubicBezTo>
                    <a:pt x="13919" y="7153"/>
                    <a:pt x="13935" y="7148"/>
                    <a:pt x="13934" y="7130"/>
                  </a:cubicBezTo>
                  <a:close/>
                  <a:moveTo>
                    <a:pt x="15711" y="2030"/>
                  </a:moveTo>
                  <a:cubicBezTo>
                    <a:pt x="15693" y="2011"/>
                    <a:pt x="15688" y="1998"/>
                    <a:pt x="15667" y="1995"/>
                  </a:cubicBezTo>
                  <a:cubicBezTo>
                    <a:pt x="15671" y="2017"/>
                    <a:pt x="15679" y="2025"/>
                    <a:pt x="15711" y="2030"/>
                  </a:cubicBezTo>
                  <a:close/>
                  <a:moveTo>
                    <a:pt x="5092" y="16188"/>
                  </a:moveTo>
                  <a:cubicBezTo>
                    <a:pt x="5086" y="16191"/>
                    <a:pt x="5083" y="16195"/>
                    <a:pt x="5086" y="16201"/>
                  </a:cubicBezTo>
                  <a:cubicBezTo>
                    <a:pt x="5088" y="16203"/>
                    <a:pt x="5093" y="16206"/>
                    <a:pt x="5096" y="16205"/>
                  </a:cubicBezTo>
                  <a:cubicBezTo>
                    <a:pt x="5102" y="16203"/>
                    <a:pt x="5105" y="16198"/>
                    <a:pt x="5102" y="16192"/>
                  </a:cubicBezTo>
                  <a:cubicBezTo>
                    <a:pt x="5100" y="16190"/>
                    <a:pt x="5095" y="16189"/>
                    <a:pt x="5092" y="16188"/>
                  </a:cubicBezTo>
                  <a:close/>
                  <a:moveTo>
                    <a:pt x="15836" y="7768"/>
                  </a:moveTo>
                  <a:cubicBezTo>
                    <a:pt x="15835" y="7767"/>
                    <a:pt x="15834" y="7765"/>
                    <a:pt x="15833" y="7765"/>
                  </a:cubicBezTo>
                  <a:cubicBezTo>
                    <a:pt x="15832" y="7764"/>
                    <a:pt x="15829" y="7764"/>
                    <a:pt x="15828" y="7765"/>
                  </a:cubicBezTo>
                  <a:cubicBezTo>
                    <a:pt x="15825" y="7768"/>
                    <a:pt x="15827" y="7770"/>
                    <a:pt x="15832" y="7771"/>
                  </a:cubicBezTo>
                  <a:cubicBezTo>
                    <a:pt x="15833" y="7771"/>
                    <a:pt x="15834" y="7769"/>
                    <a:pt x="15836" y="7768"/>
                  </a:cubicBezTo>
                  <a:close/>
                  <a:moveTo>
                    <a:pt x="13528" y="1187"/>
                  </a:moveTo>
                  <a:cubicBezTo>
                    <a:pt x="13527" y="1185"/>
                    <a:pt x="13526" y="1184"/>
                    <a:pt x="13526" y="1182"/>
                  </a:cubicBezTo>
                  <a:cubicBezTo>
                    <a:pt x="13522" y="1184"/>
                    <a:pt x="13521" y="1187"/>
                    <a:pt x="13525" y="1191"/>
                  </a:cubicBezTo>
                  <a:cubicBezTo>
                    <a:pt x="13526" y="1189"/>
                    <a:pt x="13527" y="1188"/>
                    <a:pt x="13528" y="1187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>
                <a:defRPr/>
              </a:pPr>
              <a:endParaRPr lang="en-US" sz="240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AC18ABDD-817C-F968-4CFB-3D8296D329E1}"/>
                </a:ext>
              </a:extLst>
            </p:cNvPr>
            <p:cNvGrpSpPr/>
            <p:nvPr/>
          </p:nvGrpSpPr>
          <p:grpSpPr>
            <a:xfrm>
              <a:off x="3788631" y="1426704"/>
              <a:ext cx="4392847" cy="4859042"/>
              <a:chOff x="3899578" y="1137397"/>
              <a:chExt cx="4392847" cy="4859042"/>
            </a:xfrm>
          </p:grpSpPr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BF906063-B209-82F3-639A-6D3B8BB3BC50}"/>
                  </a:ext>
                </a:extLst>
              </p:cNvPr>
              <p:cNvGrpSpPr/>
              <p:nvPr/>
            </p:nvGrpSpPr>
            <p:grpSpPr>
              <a:xfrm>
                <a:off x="3899578" y="1137397"/>
                <a:ext cx="4392847" cy="4859042"/>
                <a:chOff x="3899578" y="1137397"/>
                <a:chExt cx="4392847" cy="4859042"/>
              </a:xfrm>
            </p:grpSpPr>
            <p:cxnSp>
              <p:nvCxnSpPr>
                <p:cNvPr id="249" name="Straight Connector 207">
                  <a:extLst>
                    <a:ext uri="{FF2B5EF4-FFF2-40B4-BE49-F238E27FC236}">
                      <a16:creationId xmlns:a16="http://schemas.microsoft.com/office/drawing/2014/main" id="{9100E616-08A3-604A-99EC-3B29CE42EA14}"/>
                    </a:ext>
                  </a:extLst>
                </p:cNvPr>
                <p:cNvCxnSpPr>
                  <a:cxnSpLocks/>
                </p:cNvCxnSpPr>
                <p:nvPr>
                  <p:custDataLst>
                    <p:tags r:id="rId3"/>
                  </p:custDataLst>
                </p:nvPr>
              </p:nvCxnSpPr>
              <p:spPr>
                <a:xfrm>
                  <a:off x="6096000" y="1776845"/>
                  <a:ext cx="0" cy="941457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0" name="Straight Connector 205">
                  <a:extLst>
                    <a:ext uri="{FF2B5EF4-FFF2-40B4-BE49-F238E27FC236}">
                      <a16:creationId xmlns:a16="http://schemas.microsoft.com/office/drawing/2014/main" id="{A2892E0E-8640-3343-B5ED-216FF29C54CC}"/>
                    </a:ext>
                  </a:extLst>
                </p:cNvPr>
                <p:cNvCxnSpPr>
                  <a:cxnSpLocks/>
                </p:cNvCxnSpPr>
                <p:nvPr>
                  <p:custDataLst>
                    <p:tags r:id="rId4"/>
                  </p:custDataLst>
                </p:nvPr>
              </p:nvCxnSpPr>
              <p:spPr>
                <a:xfrm>
                  <a:off x="4281246" y="2566814"/>
                  <a:ext cx="807591" cy="466263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1" name="Straight Connector 203">
                  <a:extLst>
                    <a:ext uri="{FF2B5EF4-FFF2-40B4-BE49-F238E27FC236}">
                      <a16:creationId xmlns:a16="http://schemas.microsoft.com/office/drawing/2014/main" id="{15DC1BC2-DC07-3547-ABD4-0D18E3D04D29}"/>
                    </a:ext>
                  </a:extLst>
                </p:cNvPr>
                <p:cNvCxnSpPr>
                  <a:cxnSpLocks/>
                </p:cNvCxnSpPr>
                <p:nvPr>
                  <p:custDataLst>
                    <p:tags r:id="rId5"/>
                  </p:custDataLst>
                </p:nvPr>
              </p:nvCxnSpPr>
              <p:spPr>
                <a:xfrm flipV="1">
                  <a:off x="4281245" y="4090538"/>
                  <a:ext cx="990345" cy="571776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2" name="Straight Connector 201">
                  <a:extLst>
                    <a:ext uri="{FF2B5EF4-FFF2-40B4-BE49-F238E27FC236}">
                      <a16:creationId xmlns:a16="http://schemas.microsoft.com/office/drawing/2014/main" id="{6AAEE196-D7E6-AC42-ADA1-47FA93636256}"/>
                    </a:ext>
                  </a:extLst>
                </p:cNvPr>
                <p:cNvCxnSpPr>
                  <a:cxnSpLocks/>
                  <a:endCxn id="262" idx="2"/>
                </p:cNvCxnSpPr>
                <p:nvPr>
                  <p:custDataLst>
                    <p:tags r:id="rId6"/>
                  </p:custDataLst>
                </p:nvPr>
              </p:nvCxnSpPr>
              <p:spPr>
                <a:xfrm flipV="1">
                  <a:off x="6096000" y="4759856"/>
                  <a:ext cx="1" cy="1207988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3" name="Straight Connector 53">
                  <a:extLst>
                    <a:ext uri="{FF2B5EF4-FFF2-40B4-BE49-F238E27FC236}">
                      <a16:creationId xmlns:a16="http://schemas.microsoft.com/office/drawing/2014/main" id="{C876A29F-3490-5B43-BAED-A8BD134B82CB}"/>
                    </a:ext>
                  </a:extLst>
                </p:cNvPr>
                <p:cNvCxnSpPr>
                  <a:cxnSpLocks/>
                </p:cNvCxnSpPr>
                <p:nvPr>
                  <p:custDataLst>
                    <p:tags r:id="rId7"/>
                  </p:custDataLst>
                </p:nvPr>
              </p:nvCxnSpPr>
              <p:spPr>
                <a:xfrm flipH="1" flipV="1">
                  <a:off x="7116417" y="4203702"/>
                  <a:ext cx="794339" cy="458612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4" name="Straight Connector 50">
                  <a:extLst>
                    <a:ext uri="{FF2B5EF4-FFF2-40B4-BE49-F238E27FC236}">
                      <a16:creationId xmlns:a16="http://schemas.microsoft.com/office/drawing/2014/main" id="{B94981AA-6CFB-5C40-8193-38F037FFB27B}"/>
                    </a:ext>
                  </a:extLst>
                </p:cNvPr>
                <p:cNvCxnSpPr>
                  <a:cxnSpLocks/>
                </p:cNvCxnSpPr>
                <p:nvPr>
                  <p:custDataLst>
                    <p:tags r:id="rId8"/>
                  </p:custDataLst>
                </p:nvPr>
              </p:nvCxnSpPr>
              <p:spPr>
                <a:xfrm flipH="1">
                  <a:off x="7103166" y="2566814"/>
                  <a:ext cx="807591" cy="466263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solid"/>
                  <a:headEnd type="non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55" name="Group 143">
                  <a:extLst>
                    <a:ext uri="{FF2B5EF4-FFF2-40B4-BE49-F238E27FC236}">
                      <a16:creationId xmlns:a16="http://schemas.microsoft.com/office/drawing/2014/main" id="{D36D705C-E0C6-104A-87CC-D7A61AFBEFB5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4913146" y="2431708"/>
                  <a:ext cx="2365711" cy="2365710"/>
                  <a:chOff x="4191000" y="1910785"/>
                  <a:chExt cx="3810000" cy="3810000"/>
                </a:xfrm>
                <a:solidFill>
                  <a:schemeClr val="bg1">
                    <a:lumMod val="50000"/>
                  </a:schemeClr>
                </a:solidFill>
              </p:grpSpPr>
              <p:grpSp>
                <p:nvGrpSpPr>
                  <p:cNvPr id="256" name="Group 144">
                    <a:extLst>
                      <a:ext uri="{FF2B5EF4-FFF2-40B4-BE49-F238E27FC236}">
                        <a16:creationId xmlns:a16="http://schemas.microsoft.com/office/drawing/2014/main" id="{60450FC3-8D18-D649-AE86-EED329F0108C}"/>
                      </a:ext>
                    </a:extLst>
                  </p:cNvPr>
                  <p:cNvGrpSpPr>
                    <a:grpSpLocks noChangeAspect="1"/>
                  </p:cNvGrpSpPr>
                  <p:nvPr>
                    <p:custDataLst>
                      <p:tags r:id="rId20"/>
                    </p:custDataLst>
                  </p:nvPr>
                </p:nvGrpSpPr>
                <p:grpSpPr>
                  <a:xfrm>
                    <a:off x="4191000" y="1910785"/>
                    <a:ext cx="3810000" cy="3810000"/>
                    <a:chOff x="4191000" y="1524000"/>
                    <a:chExt cx="3810000" cy="3810000"/>
                  </a:xfrm>
                  <a:grpFill/>
                </p:grpSpPr>
                <p:sp>
                  <p:nvSpPr>
                    <p:cNvPr id="263" name="Block Arc 151">
                      <a:extLst>
                        <a:ext uri="{FF2B5EF4-FFF2-40B4-BE49-F238E27FC236}">
                          <a16:creationId xmlns:a16="http://schemas.microsoft.com/office/drawing/2014/main" id="{3455F645-01CE-D949-BA19-00A1183DAA72}"/>
                        </a:ext>
                      </a:extLst>
                    </p:cNvPr>
                    <p:cNvSpPr/>
                    <p:nvPr>
                      <p:custDataLst>
                        <p:tags r:id="rId21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360000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4" name="Block Arc 152">
                      <a:extLst>
                        <a:ext uri="{FF2B5EF4-FFF2-40B4-BE49-F238E27FC236}">
                          <a16:creationId xmlns:a16="http://schemas.microsoft.com/office/drawing/2014/main" id="{01091DF6-F971-254B-A139-81E67226E577}"/>
                        </a:ext>
                      </a:extLst>
                    </p:cNvPr>
                    <p:cNvSpPr/>
                    <p:nvPr>
                      <p:custDataLst>
                        <p:tags r:id="rId22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3600000"/>
                        <a:gd name="adj2" fmla="val 720000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5" name="Block Arc 153">
                      <a:extLst>
                        <a:ext uri="{FF2B5EF4-FFF2-40B4-BE49-F238E27FC236}">
                          <a16:creationId xmlns:a16="http://schemas.microsoft.com/office/drawing/2014/main" id="{D8218383-681E-404E-8E1C-E10D2F878C8A}"/>
                        </a:ext>
                      </a:extLst>
                    </p:cNvPr>
                    <p:cNvSpPr/>
                    <p:nvPr>
                      <p:custDataLst>
                        <p:tags r:id="rId23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7200000"/>
                        <a:gd name="adj2" fmla="val 1080000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6" name="Block Arc 154">
                      <a:extLst>
                        <a:ext uri="{FF2B5EF4-FFF2-40B4-BE49-F238E27FC236}">
                          <a16:creationId xmlns:a16="http://schemas.microsoft.com/office/drawing/2014/main" id="{96932070-5345-9A4E-9278-030690C0651D}"/>
                        </a:ext>
                      </a:extLst>
                    </p:cNvPr>
                    <p:cNvSpPr/>
                    <p:nvPr>
                      <p:custDataLst>
                        <p:tags r:id="rId24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440000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7" name="Block Arc 155">
                      <a:extLst>
                        <a:ext uri="{FF2B5EF4-FFF2-40B4-BE49-F238E27FC236}">
                          <a16:creationId xmlns:a16="http://schemas.microsoft.com/office/drawing/2014/main" id="{1781BDF7-BAE4-3A47-A070-264B684F6CE2}"/>
                        </a:ext>
                      </a:extLst>
                    </p:cNvPr>
                    <p:cNvSpPr/>
                    <p:nvPr>
                      <p:custDataLst>
                        <p:tags r:id="rId25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4400000"/>
                        <a:gd name="adj2" fmla="val 1800000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8" name="Block Arc 156">
                      <a:extLst>
                        <a:ext uri="{FF2B5EF4-FFF2-40B4-BE49-F238E27FC236}">
                          <a16:creationId xmlns:a16="http://schemas.microsoft.com/office/drawing/2014/main" id="{D62D9527-B5A2-CD4E-B27F-1C49E5F1269D}"/>
                        </a:ext>
                      </a:extLst>
                    </p:cNvPr>
                    <p:cNvSpPr/>
                    <p:nvPr>
                      <p:custDataLst>
                        <p:tags r:id="rId26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8000000"/>
                        <a:gd name="adj2" fmla="val 0"/>
                        <a:gd name="adj3" fmla="val 165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endParaRPr lang="en-US" sz="2133" dirty="0">
                        <a:solidFill>
                          <a:schemeClr val="bg1"/>
                        </a:solidFill>
                        <a:effectLst>
                          <a:glow>
                            <a:scrgbClr r="0" g="0" b="0"/>
                          </a:glo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69" name="Block Arc 157" hidden="1">
                      <a:extLst>
                        <a:ext uri="{FF2B5EF4-FFF2-40B4-BE49-F238E27FC236}">
                          <a16:creationId xmlns:a16="http://schemas.microsoft.com/office/drawing/2014/main" id="{1898A45F-15C1-8D4B-879F-31673C964141}"/>
                        </a:ext>
                      </a:extLst>
                    </p:cNvPr>
                    <p:cNvSpPr/>
                    <p:nvPr>
                      <p:custDataLst>
                        <p:tags r:id="rId27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0" name="Block Arc 158" hidden="1">
                      <a:extLst>
                        <a:ext uri="{FF2B5EF4-FFF2-40B4-BE49-F238E27FC236}">
                          <a16:creationId xmlns:a16="http://schemas.microsoft.com/office/drawing/2014/main" id="{DEC681F7-2874-CC43-8BF5-3BD4367EBD4D}"/>
                        </a:ext>
                      </a:extLst>
                    </p:cNvPr>
                    <p:cNvSpPr/>
                    <p:nvPr>
                      <p:custDataLst>
                        <p:tags r:id="rId28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1" name="Block Arc 159" hidden="1">
                      <a:extLst>
                        <a:ext uri="{FF2B5EF4-FFF2-40B4-BE49-F238E27FC236}">
                          <a16:creationId xmlns:a16="http://schemas.microsoft.com/office/drawing/2014/main" id="{737A3509-3977-EB41-A00E-D96A8DF82A1F}"/>
                        </a:ext>
                      </a:extLst>
                    </p:cNvPr>
                    <p:cNvSpPr/>
                    <p:nvPr>
                      <p:custDataLst>
                        <p:tags r:id="rId29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2" name="Block Arc 160" hidden="1">
                      <a:extLst>
                        <a:ext uri="{FF2B5EF4-FFF2-40B4-BE49-F238E27FC236}">
                          <a16:creationId xmlns:a16="http://schemas.microsoft.com/office/drawing/2014/main" id="{AB2FF16B-998E-BE43-BA13-B4713F0C1954}"/>
                        </a:ext>
                      </a:extLst>
                    </p:cNvPr>
                    <p:cNvSpPr/>
                    <p:nvPr>
                      <p:custDataLst>
                        <p:tags r:id="rId30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3" name="Block Arc 161" hidden="1">
                      <a:extLst>
                        <a:ext uri="{FF2B5EF4-FFF2-40B4-BE49-F238E27FC236}">
                          <a16:creationId xmlns:a16="http://schemas.microsoft.com/office/drawing/2014/main" id="{DF5BCAC1-8BA8-F248-BE74-A7E249C7245B}"/>
                        </a:ext>
                      </a:extLst>
                    </p:cNvPr>
                    <p:cNvSpPr/>
                    <p:nvPr>
                      <p:custDataLst>
                        <p:tags r:id="rId31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4" name="Block Arc 162" hidden="1">
                      <a:extLst>
                        <a:ext uri="{FF2B5EF4-FFF2-40B4-BE49-F238E27FC236}">
                          <a16:creationId xmlns:a16="http://schemas.microsoft.com/office/drawing/2014/main" id="{3D5B996B-E074-074D-8686-F1DCB58202B0}"/>
                        </a:ext>
                      </a:extLst>
                    </p:cNvPr>
                    <p:cNvSpPr/>
                    <p:nvPr>
                      <p:custDataLst>
                        <p:tags r:id="rId32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5" name="Block Arc 163" hidden="1">
                      <a:extLst>
                        <a:ext uri="{FF2B5EF4-FFF2-40B4-BE49-F238E27FC236}">
                          <a16:creationId xmlns:a16="http://schemas.microsoft.com/office/drawing/2014/main" id="{11FFB062-E80F-2E47-A939-F25D10872CBA}"/>
                        </a:ext>
                      </a:extLst>
                    </p:cNvPr>
                    <p:cNvSpPr/>
                    <p:nvPr>
                      <p:custDataLst>
                        <p:tags r:id="rId33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6" name="Block Arc 164" hidden="1">
                      <a:extLst>
                        <a:ext uri="{FF2B5EF4-FFF2-40B4-BE49-F238E27FC236}">
                          <a16:creationId xmlns:a16="http://schemas.microsoft.com/office/drawing/2014/main" id="{17D88FB4-A8FE-DA40-9404-355B7B7ADD3D}"/>
                        </a:ext>
                      </a:extLst>
                    </p:cNvPr>
                    <p:cNvSpPr/>
                    <p:nvPr>
                      <p:custDataLst>
                        <p:tags r:id="rId34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7" name="Block Arc 165" hidden="1">
                      <a:extLst>
                        <a:ext uri="{FF2B5EF4-FFF2-40B4-BE49-F238E27FC236}">
                          <a16:creationId xmlns:a16="http://schemas.microsoft.com/office/drawing/2014/main" id="{F1C7EB37-50B6-9A42-8F9D-30022BC3E43A}"/>
                        </a:ext>
                      </a:extLst>
                    </p:cNvPr>
                    <p:cNvSpPr/>
                    <p:nvPr>
                      <p:custDataLst>
                        <p:tags r:id="rId35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8" name="Block Arc 166" hidden="1">
                      <a:extLst>
                        <a:ext uri="{FF2B5EF4-FFF2-40B4-BE49-F238E27FC236}">
                          <a16:creationId xmlns:a16="http://schemas.microsoft.com/office/drawing/2014/main" id="{4A4A81D6-E3D8-5749-8150-C4736F719915}"/>
                        </a:ext>
                      </a:extLst>
                    </p:cNvPr>
                    <p:cNvSpPr/>
                    <p:nvPr>
                      <p:custDataLst>
                        <p:tags r:id="rId36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79" name="Block Arc 167" hidden="1">
                      <a:extLst>
                        <a:ext uri="{FF2B5EF4-FFF2-40B4-BE49-F238E27FC236}">
                          <a16:creationId xmlns:a16="http://schemas.microsoft.com/office/drawing/2014/main" id="{CD6EAD89-A6CF-0F48-81E3-E2E4171CAEA6}"/>
                        </a:ext>
                      </a:extLst>
                    </p:cNvPr>
                    <p:cNvSpPr/>
                    <p:nvPr>
                      <p:custDataLst>
                        <p:tags r:id="rId37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0" name="Block Arc 168" hidden="1">
                      <a:extLst>
                        <a:ext uri="{FF2B5EF4-FFF2-40B4-BE49-F238E27FC236}">
                          <a16:creationId xmlns:a16="http://schemas.microsoft.com/office/drawing/2014/main" id="{16F74452-798D-764F-912F-0B600C0426EC}"/>
                        </a:ext>
                      </a:extLst>
                    </p:cNvPr>
                    <p:cNvSpPr/>
                    <p:nvPr>
                      <p:custDataLst>
                        <p:tags r:id="rId38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1" name="Block Arc 169" hidden="1">
                      <a:extLst>
                        <a:ext uri="{FF2B5EF4-FFF2-40B4-BE49-F238E27FC236}">
                          <a16:creationId xmlns:a16="http://schemas.microsoft.com/office/drawing/2014/main" id="{7D58565D-3A59-8347-B2C8-37AD8B8630E2}"/>
                        </a:ext>
                      </a:extLst>
                    </p:cNvPr>
                    <p:cNvSpPr/>
                    <p:nvPr>
                      <p:custDataLst>
                        <p:tags r:id="rId39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2" name="Block Arc 170" hidden="1">
                      <a:extLst>
                        <a:ext uri="{FF2B5EF4-FFF2-40B4-BE49-F238E27FC236}">
                          <a16:creationId xmlns:a16="http://schemas.microsoft.com/office/drawing/2014/main" id="{4EA83501-87C2-4942-86FC-B94006758877}"/>
                        </a:ext>
                      </a:extLst>
                    </p:cNvPr>
                    <p:cNvSpPr/>
                    <p:nvPr>
                      <p:custDataLst>
                        <p:tags r:id="rId40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3" name="Block Arc 171" hidden="1">
                      <a:extLst>
                        <a:ext uri="{FF2B5EF4-FFF2-40B4-BE49-F238E27FC236}">
                          <a16:creationId xmlns:a16="http://schemas.microsoft.com/office/drawing/2014/main" id="{F60226E4-F241-9143-9C9B-69A820DA17D0}"/>
                        </a:ext>
                      </a:extLst>
                    </p:cNvPr>
                    <p:cNvSpPr/>
                    <p:nvPr>
                      <p:custDataLst>
                        <p:tags r:id="rId41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4" name="Block Arc 172" hidden="1">
                      <a:extLst>
                        <a:ext uri="{FF2B5EF4-FFF2-40B4-BE49-F238E27FC236}">
                          <a16:creationId xmlns:a16="http://schemas.microsoft.com/office/drawing/2014/main" id="{CDCF71EE-EF47-8548-A2EB-757C6184C2D1}"/>
                        </a:ext>
                      </a:extLst>
                    </p:cNvPr>
                    <p:cNvSpPr/>
                    <p:nvPr>
                      <p:custDataLst>
                        <p:tags r:id="rId42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5" name="Block Arc 173" hidden="1">
                      <a:extLst>
                        <a:ext uri="{FF2B5EF4-FFF2-40B4-BE49-F238E27FC236}">
                          <a16:creationId xmlns:a16="http://schemas.microsoft.com/office/drawing/2014/main" id="{E6021D58-45A4-0F4F-B9BA-F07959F99821}"/>
                        </a:ext>
                      </a:extLst>
                    </p:cNvPr>
                    <p:cNvSpPr/>
                    <p:nvPr>
                      <p:custDataLst>
                        <p:tags r:id="rId43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6" name="Block Arc 174" hidden="1">
                      <a:extLst>
                        <a:ext uri="{FF2B5EF4-FFF2-40B4-BE49-F238E27FC236}">
                          <a16:creationId xmlns:a16="http://schemas.microsoft.com/office/drawing/2014/main" id="{4CC35CD1-0969-4B46-B9E1-A99A2C3863FE}"/>
                        </a:ext>
                      </a:extLst>
                    </p:cNvPr>
                    <p:cNvSpPr/>
                    <p:nvPr>
                      <p:custDataLst>
                        <p:tags r:id="rId44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7" name="Block Arc 175" hidden="1">
                      <a:extLst>
                        <a:ext uri="{FF2B5EF4-FFF2-40B4-BE49-F238E27FC236}">
                          <a16:creationId xmlns:a16="http://schemas.microsoft.com/office/drawing/2014/main" id="{10826782-2728-AB41-8CA9-783B1275FB15}"/>
                        </a:ext>
                      </a:extLst>
                    </p:cNvPr>
                    <p:cNvSpPr/>
                    <p:nvPr>
                      <p:custDataLst>
                        <p:tags r:id="rId45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8" name="Block Arc 176" hidden="1">
                      <a:extLst>
                        <a:ext uri="{FF2B5EF4-FFF2-40B4-BE49-F238E27FC236}">
                          <a16:creationId xmlns:a16="http://schemas.microsoft.com/office/drawing/2014/main" id="{5C1A4D28-0B1B-3046-8486-0B99CFB474EB}"/>
                        </a:ext>
                      </a:extLst>
                    </p:cNvPr>
                    <p:cNvSpPr/>
                    <p:nvPr>
                      <p:custDataLst>
                        <p:tags r:id="rId46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89" name="Block Arc 177" hidden="1">
                      <a:extLst>
                        <a:ext uri="{FF2B5EF4-FFF2-40B4-BE49-F238E27FC236}">
                          <a16:creationId xmlns:a16="http://schemas.microsoft.com/office/drawing/2014/main" id="{1A36A444-EFCB-E542-8108-7497D54631F7}"/>
                        </a:ext>
                      </a:extLst>
                    </p:cNvPr>
                    <p:cNvSpPr/>
                    <p:nvPr>
                      <p:custDataLst>
                        <p:tags r:id="rId47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0" name="Block Arc 178" hidden="1">
                      <a:extLst>
                        <a:ext uri="{FF2B5EF4-FFF2-40B4-BE49-F238E27FC236}">
                          <a16:creationId xmlns:a16="http://schemas.microsoft.com/office/drawing/2014/main" id="{5CC7200F-AC1D-DC48-AF44-7F6378D9195F}"/>
                        </a:ext>
                      </a:extLst>
                    </p:cNvPr>
                    <p:cNvSpPr/>
                    <p:nvPr>
                      <p:custDataLst>
                        <p:tags r:id="rId48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1" name="Block Arc 179" hidden="1">
                      <a:extLst>
                        <a:ext uri="{FF2B5EF4-FFF2-40B4-BE49-F238E27FC236}">
                          <a16:creationId xmlns:a16="http://schemas.microsoft.com/office/drawing/2014/main" id="{6D9A1D46-A05F-8E4C-97EE-688DA12A9207}"/>
                        </a:ext>
                      </a:extLst>
                    </p:cNvPr>
                    <p:cNvSpPr/>
                    <p:nvPr>
                      <p:custDataLst>
                        <p:tags r:id="rId49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2" name="Block Arc 180" hidden="1">
                      <a:extLst>
                        <a:ext uri="{FF2B5EF4-FFF2-40B4-BE49-F238E27FC236}">
                          <a16:creationId xmlns:a16="http://schemas.microsoft.com/office/drawing/2014/main" id="{E1E4B557-77C4-0441-B947-35DA608B69A4}"/>
                        </a:ext>
                      </a:extLst>
                    </p:cNvPr>
                    <p:cNvSpPr/>
                    <p:nvPr>
                      <p:custDataLst>
                        <p:tags r:id="rId50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3" name="Block Arc 181" hidden="1">
                      <a:extLst>
                        <a:ext uri="{FF2B5EF4-FFF2-40B4-BE49-F238E27FC236}">
                          <a16:creationId xmlns:a16="http://schemas.microsoft.com/office/drawing/2014/main" id="{84552519-CB7F-5144-AF4C-D1DA28D41D28}"/>
                        </a:ext>
                      </a:extLst>
                    </p:cNvPr>
                    <p:cNvSpPr/>
                    <p:nvPr>
                      <p:custDataLst>
                        <p:tags r:id="rId51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4" name="Block Arc 182" hidden="1">
                      <a:extLst>
                        <a:ext uri="{FF2B5EF4-FFF2-40B4-BE49-F238E27FC236}">
                          <a16:creationId xmlns:a16="http://schemas.microsoft.com/office/drawing/2014/main" id="{FBB7AA80-97D8-4140-AA03-048F72FC7D2B}"/>
                        </a:ext>
                      </a:extLst>
                    </p:cNvPr>
                    <p:cNvSpPr/>
                    <p:nvPr>
                      <p:custDataLst>
                        <p:tags r:id="rId52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5" name="Block Arc 183" hidden="1">
                      <a:extLst>
                        <a:ext uri="{FF2B5EF4-FFF2-40B4-BE49-F238E27FC236}">
                          <a16:creationId xmlns:a16="http://schemas.microsoft.com/office/drawing/2014/main" id="{3FD80573-949A-6943-BC3B-AFABF010E11F}"/>
                        </a:ext>
                      </a:extLst>
                    </p:cNvPr>
                    <p:cNvSpPr/>
                    <p:nvPr>
                      <p:custDataLst>
                        <p:tags r:id="rId53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6" name="Block Arc 184" hidden="1">
                      <a:extLst>
                        <a:ext uri="{FF2B5EF4-FFF2-40B4-BE49-F238E27FC236}">
                          <a16:creationId xmlns:a16="http://schemas.microsoft.com/office/drawing/2014/main" id="{6E477D43-8706-9B4D-B283-09941E765BEF}"/>
                        </a:ext>
                      </a:extLst>
                    </p:cNvPr>
                    <p:cNvSpPr/>
                    <p:nvPr>
                      <p:custDataLst>
                        <p:tags r:id="rId54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7" name="Block Arc 185" hidden="1">
                      <a:extLst>
                        <a:ext uri="{FF2B5EF4-FFF2-40B4-BE49-F238E27FC236}">
                          <a16:creationId xmlns:a16="http://schemas.microsoft.com/office/drawing/2014/main" id="{C5252FFE-422F-564B-846B-7AC8AE15BAAC}"/>
                        </a:ext>
                      </a:extLst>
                    </p:cNvPr>
                    <p:cNvSpPr/>
                    <p:nvPr>
                      <p:custDataLst>
                        <p:tags r:id="rId55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8" name="Block Arc 186" hidden="1">
                      <a:extLst>
                        <a:ext uri="{FF2B5EF4-FFF2-40B4-BE49-F238E27FC236}">
                          <a16:creationId xmlns:a16="http://schemas.microsoft.com/office/drawing/2014/main" id="{62DF8A3D-960C-F94A-80EE-6E312EB152AD}"/>
                        </a:ext>
                      </a:extLst>
                    </p:cNvPr>
                    <p:cNvSpPr/>
                    <p:nvPr>
                      <p:custDataLst>
                        <p:tags r:id="rId56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299" name="Block Arc 187" hidden="1">
                      <a:extLst>
                        <a:ext uri="{FF2B5EF4-FFF2-40B4-BE49-F238E27FC236}">
                          <a16:creationId xmlns:a16="http://schemas.microsoft.com/office/drawing/2014/main" id="{9C7825FB-9942-1048-B18E-48A282D96952}"/>
                        </a:ext>
                      </a:extLst>
                    </p:cNvPr>
                    <p:cNvSpPr/>
                    <p:nvPr>
                      <p:custDataLst>
                        <p:tags r:id="rId57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0" name="Block Arc 188" hidden="1">
                      <a:extLst>
                        <a:ext uri="{FF2B5EF4-FFF2-40B4-BE49-F238E27FC236}">
                          <a16:creationId xmlns:a16="http://schemas.microsoft.com/office/drawing/2014/main" id="{2A0C1F2A-5E89-EA40-80DA-89EE4EEF5423}"/>
                        </a:ext>
                      </a:extLst>
                    </p:cNvPr>
                    <p:cNvSpPr/>
                    <p:nvPr>
                      <p:custDataLst>
                        <p:tags r:id="rId58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1" name="Block Arc 189" hidden="1">
                      <a:extLst>
                        <a:ext uri="{FF2B5EF4-FFF2-40B4-BE49-F238E27FC236}">
                          <a16:creationId xmlns:a16="http://schemas.microsoft.com/office/drawing/2014/main" id="{B69CFB57-A76A-2546-8592-4E33ED691D52}"/>
                        </a:ext>
                      </a:extLst>
                    </p:cNvPr>
                    <p:cNvSpPr/>
                    <p:nvPr>
                      <p:custDataLst>
                        <p:tags r:id="rId59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2" name="Block Arc 190" hidden="1">
                      <a:extLst>
                        <a:ext uri="{FF2B5EF4-FFF2-40B4-BE49-F238E27FC236}">
                          <a16:creationId xmlns:a16="http://schemas.microsoft.com/office/drawing/2014/main" id="{44DEF8C9-37E5-3B43-9661-7400B506314B}"/>
                        </a:ext>
                      </a:extLst>
                    </p:cNvPr>
                    <p:cNvSpPr/>
                    <p:nvPr>
                      <p:custDataLst>
                        <p:tags r:id="rId60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3" name="Block Arc 191" hidden="1">
                      <a:extLst>
                        <a:ext uri="{FF2B5EF4-FFF2-40B4-BE49-F238E27FC236}">
                          <a16:creationId xmlns:a16="http://schemas.microsoft.com/office/drawing/2014/main" id="{E36072E9-11F6-2848-9519-5F1999F6ECE4}"/>
                        </a:ext>
                      </a:extLst>
                    </p:cNvPr>
                    <p:cNvSpPr/>
                    <p:nvPr>
                      <p:custDataLst>
                        <p:tags r:id="rId61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4" name="Block Arc 192" hidden="1">
                      <a:extLst>
                        <a:ext uri="{FF2B5EF4-FFF2-40B4-BE49-F238E27FC236}">
                          <a16:creationId xmlns:a16="http://schemas.microsoft.com/office/drawing/2014/main" id="{69DEA725-E642-EC43-B1D2-C164ED97ADC0}"/>
                        </a:ext>
                      </a:extLst>
                    </p:cNvPr>
                    <p:cNvSpPr/>
                    <p:nvPr>
                      <p:custDataLst>
                        <p:tags r:id="rId62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5" name="Block Arc 193" hidden="1">
                      <a:extLst>
                        <a:ext uri="{FF2B5EF4-FFF2-40B4-BE49-F238E27FC236}">
                          <a16:creationId xmlns:a16="http://schemas.microsoft.com/office/drawing/2014/main" id="{A7DC4635-EFF2-CF4F-90A0-24B9232378D9}"/>
                        </a:ext>
                      </a:extLst>
                    </p:cNvPr>
                    <p:cNvSpPr/>
                    <p:nvPr>
                      <p:custDataLst>
                        <p:tags r:id="rId63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6" name="Block Arc 194" hidden="1">
                      <a:extLst>
                        <a:ext uri="{FF2B5EF4-FFF2-40B4-BE49-F238E27FC236}">
                          <a16:creationId xmlns:a16="http://schemas.microsoft.com/office/drawing/2014/main" id="{764CA7A1-3367-F743-BACE-94B99BDB923F}"/>
                        </a:ext>
                      </a:extLst>
                    </p:cNvPr>
                    <p:cNvSpPr/>
                    <p:nvPr>
                      <p:custDataLst>
                        <p:tags r:id="rId64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7" name="Block Arc 195" hidden="1">
                      <a:extLst>
                        <a:ext uri="{FF2B5EF4-FFF2-40B4-BE49-F238E27FC236}">
                          <a16:creationId xmlns:a16="http://schemas.microsoft.com/office/drawing/2014/main" id="{351AE149-BEBC-204F-8D6B-29956EC2D1CA}"/>
                        </a:ext>
                      </a:extLst>
                    </p:cNvPr>
                    <p:cNvSpPr/>
                    <p:nvPr>
                      <p:custDataLst>
                        <p:tags r:id="rId65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8" name="Block Arc 196" hidden="1">
                      <a:extLst>
                        <a:ext uri="{FF2B5EF4-FFF2-40B4-BE49-F238E27FC236}">
                          <a16:creationId xmlns:a16="http://schemas.microsoft.com/office/drawing/2014/main" id="{EAE66AB2-2CC0-6E44-8D79-481EE3BA0FB3}"/>
                        </a:ext>
                      </a:extLst>
                    </p:cNvPr>
                    <p:cNvSpPr/>
                    <p:nvPr>
                      <p:custDataLst>
                        <p:tags r:id="rId66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09" name="Block Arc 197" hidden="1">
                      <a:extLst>
                        <a:ext uri="{FF2B5EF4-FFF2-40B4-BE49-F238E27FC236}">
                          <a16:creationId xmlns:a16="http://schemas.microsoft.com/office/drawing/2014/main" id="{E7623AF8-1637-1A41-BF9B-3A74AB1E23D4}"/>
                        </a:ext>
                      </a:extLst>
                    </p:cNvPr>
                    <p:cNvSpPr/>
                    <p:nvPr>
                      <p:custDataLst>
                        <p:tags r:id="rId67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0800000"/>
                        <a:gd name="adj2" fmla="val 162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10" name="Block Arc 198" hidden="1">
                      <a:extLst>
                        <a:ext uri="{FF2B5EF4-FFF2-40B4-BE49-F238E27FC236}">
                          <a16:creationId xmlns:a16="http://schemas.microsoft.com/office/drawing/2014/main" id="{B2C116E5-6ED7-A145-8726-8B86C94B11E0}"/>
                        </a:ext>
                      </a:extLst>
                    </p:cNvPr>
                    <p:cNvSpPr/>
                    <p:nvPr>
                      <p:custDataLst>
                        <p:tags r:id="rId68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16200000"/>
                        <a:gd name="adj2" fmla="val 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11" name="Block Arc 199" hidden="1">
                      <a:extLst>
                        <a:ext uri="{FF2B5EF4-FFF2-40B4-BE49-F238E27FC236}">
                          <a16:creationId xmlns:a16="http://schemas.microsoft.com/office/drawing/2014/main" id="{F35B8E6A-D6F0-0346-B356-8F35A0BC1418}"/>
                        </a:ext>
                      </a:extLst>
                    </p:cNvPr>
                    <p:cNvSpPr/>
                    <p:nvPr>
                      <p:custDataLst>
                        <p:tags r:id="rId69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0"/>
                        <a:gd name="adj2" fmla="val 54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  <p:sp>
                  <p:nvSpPr>
                    <p:cNvPr id="312" name="Block Arc 200" hidden="1">
                      <a:extLst>
                        <a:ext uri="{FF2B5EF4-FFF2-40B4-BE49-F238E27FC236}">
                          <a16:creationId xmlns:a16="http://schemas.microsoft.com/office/drawing/2014/main" id="{9C620F09-7626-0741-846B-4E9F2EE936F6}"/>
                        </a:ext>
                      </a:extLst>
                    </p:cNvPr>
                    <p:cNvSpPr/>
                    <p:nvPr>
                      <p:custDataLst>
                        <p:tags r:id="rId70"/>
                      </p:custDataLst>
                    </p:nvPr>
                  </p:nvSpPr>
                  <p:spPr>
                    <a:xfrm>
                      <a:off x="4191000" y="1524000"/>
                      <a:ext cx="3810000" cy="3810000"/>
                    </a:xfrm>
                    <a:prstGeom prst="blockArc">
                      <a:avLst>
                        <a:gd name="adj1" fmla="val 5400000"/>
                        <a:gd name="adj2" fmla="val 10800000"/>
                        <a:gd name="adj3" fmla="val 25000"/>
                      </a:avLst>
                    </a:prstGeom>
                    <a:grpFill/>
                    <a:ln w="25400">
                      <a:solidFill>
                        <a:srgbClr val="FFFFFF"/>
                      </a:solidFill>
                      <a:prstDash val="solid"/>
                    </a:ln>
                    <a:extLst>
                      <a:ext uri="{31F19639-BCED-4A60-ADC4-E9642A236FB7}">
                        <a14:hiddenScene3d xmlns:a14="http://schemas.microsoft.com/office/drawing/2010/main">
                          <a:camera prst="orthographicFront"/>
                          <a:lightRig rig="threePt" dir="t"/>
                        </a14:hiddenScene3d>
                      </a:ext>
                      <a:ext uri="{E45631CC-5BF2-4C18-A39C-3461C7D3F71A}">
                        <a14:hiddenSp3d xmlns:a14="http://schemas.microsoft.com/office/drawing/2010/main"/>
                      </a:ext>
                    </a:ex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        <a:prstTxWarp prst="textNoShape">
                        <a:avLst/>
                      </a:prstTxWarp>
                      <a:noAutofit/>
                      <a:sp3d/>
                    </a:bodyPr>
                    <a:lstStyle/>
                    <a:p>
                      <a:pPr algn="ctr" defTabSz="914377">
                        <a:defRPr/>
                      </a:pPr>
                      <a:r>
                        <a:rPr lang="en" sz="2133" dirty="0">
                          <a:solidFill>
                            <a:schemeClr val="bg1"/>
                          </a:solidFill>
                          <a:effectLst>
                            <a:glow>
                              <a:scrgbClr r="0" g="0" b="0"/>
                            </a:glo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xt</a:t>
                      </a:r>
                    </a:p>
                  </p:txBody>
                </p:sp>
              </p:grpSp>
              <p:sp>
                <p:nvSpPr>
                  <p:cNvPr id="257" name="TextBox 256">
                    <a:extLst>
                      <a:ext uri="{FF2B5EF4-FFF2-40B4-BE49-F238E27FC236}">
                        <a16:creationId xmlns:a16="http://schemas.microsoft.com/office/drawing/2014/main" id="{51D3F845-6264-6846-8824-104FB7826152}"/>
                      </a:ext>
                    </a:extLst>
                  </p:cNvPr>
                  <p:cNvSpPr txBox="1"/>
                  <p:nvPr/>
                </p:nvSpPr>
                <p:spPr>
                  <a:xfrm>
                    <a:off x="4613862" y="2738763"/>
                    <a:ext cx="245258" cy="528619"/>
                  </a:xfrm>
                  <a:prstGeom prst="rect">
                    <a:avLst/>
                  </a:prstGeom>
                  <a:grpFill/>
                </p:spPr>
                <p:txBody>
                  <a:bodyPr wrap="none" lIns="0" tIns="0" rIns="0" bIns="0" rtlCol="0" anchor="ctr">
                    <a:spAutoFit/>
                  </a:bodyPr>
                  <a:lstStyle/>
                  <a:p>
                    <a:pPr algn="ctr" defTabSz="914377">
                      <a:defRPr/>
                    </a:pPr>
                    <a:r>
                      <a:rPr lang="en" sz="2133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</a:t>
                    </a:r>
                  </a:p>
                </p:txBody>
              </p:sp>
              <p:sp>
                <p:nvSpPr>
                  <p:cNvPr id="258" name="TextBox 257">
                    <a:extLst>
                      <a:ext uri="{FF2B5EF4-FFF2-40B4-BE49-F238E27FC236}">
                        <a16:creationId xmlns:a16="http://schemas.microsoft.com/office/drawing/2014/main" id="{BB24FB1E-C9EA-8D49-9175-B5D4F16B39EC}"/>
                      </a:ext>
                    </a:extLst>
                  </p:cNvPr>
                  <p:cNvSpPr txBox="1"/>
                  <p:nvPr/>
                </p:nvSpPr>
                <p:spPr>
                  <a:xfrm>
                    <a:off x="4613862" y="4432219"/>
                    <a:ext cx="245258" cy="528619"/>
                  </a:xfrm>
                  <a:prstGeom prst="rect">
                    <a:avLst/>
                  </a:prstGeom>
                  <a:grpFill/>
                </p:spPr>
                <p:txBody>
                  <a:bodyPr wrap="none" lIns="0" tIns="0" rIns="0" bIns="0" rtlCol="0" anchor="ctr">
                    <a:spAutoFit/>
                  </a:bodyPr>
                  <a:lstStyle/>
                  <a:p>
                    <a:pPr algn="ctr" defTabSz="914377">
                      <a:defRPr/>
                    </a:pPr>
                    <a:r>
                      <a:rPr lang="en" sz="2133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</a:t>
                    </a:r>
                    <a:endParaRPr lang="fr-FR" sz="2133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60" name="TextBox 259">
                    <a:extLst>
                      <a:ext uri="{FF2B5EF4-FFF2-40B4-BE49-F238E27FC236}">
                        <a16:creationId xmlns:a16="http://schemas.microsoft.com/office/drawing/2014/main" id="{87957396-83BC-1A40-A8EB-349A6DFBA5C0}"/>
                      </a:ext>
                    </a:extLst>
                  </p:cNvPr>
                  <p:cNvSpPr txBox="1"/>
                  <p:nvPr/>
                </p:nvSpPr>
                <p:spPr>
                  <a:xfrm>
                    <a:off x="7393918" y="2825345"/>
                    <a:ext cx="245258" cy="528619"/>
                  </a:xfrm>
                  <a:prstGeom prst="rect">
                    <a:avLst/>
                  </a:prstGeom>
                  <a:grpFill/>
                </p:spPr>
                <p:txBody>
                  <a:bodyPr wrap="none" lIns="0" tIns="0" rIns="0" bIns="0" rtlCol="0" anchor="ctr">
                    <a:spAutoFit/>
                  </a:bodyPr>
                  <a:lstStyle/>
                  <a:p>
                    <a:pPr algn="ctr" defTabSz="914377">
                      <a:defRPr/>
                    </a:pPr>
                    <a:r>
                      <a:rPr lang="en" sz="2133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</a:t>
                    </a:r>
                  </a:p>
                </p:txBody>
              </p:sp>
              <p:sp>
                <p:nvSpPr>
                  <p:cNvPr id="261" name="TextBox 260">
                    <a:extLst>
                      <a:ext uri="{FF2B5EF4-FFF2-40B4-BE49-F238E27FC236}">
                        <a16:creationId xmlns:a16="http://schemas.microsoft.com/office/drawing/2014/main" id="{BA6D1C43-373D-0C4C-9503-D971814165F4}"/>
                      </a:ext>
                    </a:extLst>
                  </p:cNvPr>
                  <p:cNvSpPr txBox="1"/>
                  <p:nvPr/>
                </p:nvSpPr>
                <p:spPr>
                  <a:xfrm>
                    <a:off x="6095948" y="1976763"/>
                    <a:ext cx="103" cy="528619"/>
                  </a:xfrm>
                  <a:prstGeom prst="rect">
                    <a:avLst/>
                  </a:prstGeom>
                  <a:grpFill/>
                </p:spPr>
                <p:txBody>
                  <a:bodyPr wrap="none" lIns="0" tIns="0" rIns="0" bIns="0" rtlCol="0" anchor="ctr">
                    <a:spAutoFit/>
                  </a:bodyPr>
                  <a:lstStyle/>
                  <a:p>
                    <a:pPr algn="ctr" defTabSz="914377">
                      <a:defRPr/>
                    </a:pPr>
                    <a:endParaRPr lang="fr-FR" sz="2133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62" name="TextBox 261">
                    <a:extLst>
                      <a:ext uri="{FF2B5EF4-FFF2-40B4-BE49-F238E27FC236}">
                        <a16:creationId xmlns:a16="http://schemas.microsoft.com/office/drawing/2014/main" id="{0E42F590-27DC-7741-BB4C-72501EC12980}"/>
                      </a:ext>
                    </a:extLst>
                  </p:cNvPr>
                  <p:cNvSpPr txBox="1"/>
                  <p:nvPr/>
                </p:nvSpPr>
                <p:spPr>
                  <a:xfrm>
                    <a:off x="5973370" y="5131672"/>
                    <a:ext cx="245258" cy="528619"/>
                  </a:xfrm>
                  <a:prstGeom prst="rect">
                    <a:avLst/>
                  </a:prstGeom>
                  <a:grpFill/>
                </p:spPr>
                <p:txBody>
                  <a:bodyPr wrap="none" lIns="0" tIns="0" rIns="0" bIns="0" rtlCol="0" anchor="ctr">
                    <a:spAutoFit/>
                  </a:bodyPr>
                  <a:lstStyle/>
                  <a:p>
                    <a:pPr algn="ctr" defTabSz="914377">
                      <a:defRPr/>
                    </a:pPr>
                    <a:r>
                      <a:rPr lang="en" sz="2133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</a:t>
                    </a:r>
                    <a:endParaRPr lang="fr-FR" sz="2133" b="1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313" name="Oval 3">
                  <a:extLst>
                    <a:ext uri="{FF2B5EF4-FFF2-40B4-BE49-F238E27FC236}">
                      <a16:creationId xmlns:a16="http://schemas.microsoft.com/office/drawing/2014/main" id="{62769A98-303C-5E4E-840D-747165D3051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9"/>
                  </p:custDataLst>
                </p:nvPr>
              </p:nvSpPr>
              <p:spPr>
                <a:xfrm>
                  <a:off x="7529090" y="2185148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/>
                  <a:endParaRPr lang="fr-FR" sz="14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314" name="Oval 4">
                  <a:extLst>
                    <a:ext uri="{FF2B5EF4-FFF2-40B4-BE49-F238E27FC236}">
                      <a16:creationId xmlns:a16="http://schemas.microsoft.com/office/drawing/2014/main" id="{0D049DA1-4CF4-194C-9AFC-995C3A698A3D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0"/>
                  </p:custDataLst>
                </p:nvPr>
              </p:nvSpPr>
              <p:spPr>
                <a:xfrm>
                  <a:off x="7529090" y="4280648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/>
                  <a:endParaRPr lang="fr-FR" sz="14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315" name="Oval 5">
                  <a:extLst>
                    <a:ext uri="{FF2B5EF4-FFF2-40B4-BE49-F238E27FC236}">
                      <a16:creationId xmlns:a16="http://schemas.microsoft.com/office/drawing/2014/main" id="{B66F6D7D-64E1-3F47-840F-56C00E2B7ADC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1"/>
                  </p:custDataLst>
                </p:nvPr>
              </p:nvSpPr>
              <p:spPr>
                <a:xfrm>
                  <a:off x="5714334" y="5233104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/>
                  <a:endParaRPr lang="fr-FR" sz="14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316" name="Oval 6">
                  <a:extLst>
                    <a:ext uri="{FF2B5EF4-FFF2-40B4-BE49-F238E27FC236}">
                      <a16:creationId xmlns:a16="http://schemas.microsoft.com/office/drawing/2014/main" id="{612F91AC-A584-9049-97B7-5FF61C2CCA4B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2"/>
                  </p:custDataLst>
                </p:nvPr>
              </p:nvSpPr>
              <p:spPr>
                <a:xfrm>
                  <a:off x="3899578" y="4280648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/>
                  <a:endParaRPr lang="fr-FR" sz="14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317" name="Oval 7">
                  <a:extLst>
                    <a:ext uri="{FF2B5EF4-FFF2-40B4-BE49-F238E27FC236}">
                      <a16:creationId xmlns:a16="http://schemas.microsoft.com/office/drawing/2014/main" id="{C933112D-46CE-214D-B448-FD88281DA158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3"/>
                  </p:custDataLst>
                </p:nvPr>
              </p:nvSpPr>
              <p:spPr>
                <a:xfrm>
                  <a:off x="3899578" y="2185148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>
                    <a:defRPr/>
                  </a:pPr>
                  <a:endParaRPr lang="fr-FR" sz="14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318" name="Oval 8">
                  <a:extLst>
                    <a:ext uri="{FF2B5EF4-FFF2-40B4-BE49-F238E27FC236}">
                      <a16:creationId xmlns:a16="http://schemas.microsoft.com/office/drawing/2014/main" id="{8C780C97-0853-A049-9819-A33B6C6B5059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4"/>
                  </p:custDataLst>
                </p:nvPr>
              </p:nvSpPr>
              <p:spPr>
                <a:xfrm>
                  <a:off x="5714334" y="1137397"/>
                  <a:ext cx="763335" cy="763335"/>
                </a:xfrm>
                <a:prstGeom prst="ellipse">
                  <a:avLst/>
                </a:prstGeom>
                <a:solidFill>
                  <a:srgbClr val="2E35AD"/>
                </a:solidFill>
                <a:ln w="12700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914377"/>
                  <a:endParaRPr lang="fr-FR" sz="14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pic>
              <p:nvPicPr>
                <p:cNvPr id="319" name="Рисунок 318">
                  <a:extLst>
                    <a:ext uri="{FF2B5EF4-FFF2-40B4-BE49-F238E27FC236}">
                      <a16:creationId xmlns:a16="http://schemas.microsoft.com/office/drawing/2014/main" id="{1F6F6AF7-A97D-FA46-94CE-1B9571D8E9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5" cstate="print">
                  <a:biLevel thresh="50000"/>
                  <a:extLst>
                    <a:ext uri="{BEBA8EAE-BF5A-486C-A8C5-ECC9F3942E4B}">
                      <a14:imgProps xmlns:a14="http://schemas.microsoft.com/office/drawing/2010/main">
                        <a14:imgLayer r:embed="rId76"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22955" y="1227290"/>
                  <a:ext cx="519141" cy="519141"/>
                </a:xfrm>
                <a:prstGeom prst="rect">
                  <a:avLst/>
                </a:prstGeom>
              </p:spPr>
            </p:pic>
            <p:pic>
              <p:nvPicPr>
                <p:cNvPr id="320" name="Рисунок 319">
                  <a:extLst>
                    <a:ext uri="{FF2B5EF4-FFF2-40B4-BE49-F238E27FC236}">
                      <a16:creationId xmlns:a16="http://schemas.microsoft.com/office/drawing/2014/main" id="{3683E467-1329-774C-A950-03E009E082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7" cstate="print">
                  <a:biLevel thresh="50000"/>
                  <a:extLst>
                    <a:ext uri="{BEBA8EAE-BF5A-486C-A8C5-ECC9F3942E4B}">
                      <a14:imgProps xmlns:a14="http://schemas.microsoft.com/office/drawing/2010/main">
                        <a14:imgLayer r:embed="rId78">
                          <a14:imgEffect>
                            <a14:brightnessContrast contrast="-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56177" y="2317650"/>
                  <a:ext cx="498327" cy="498327"/>
                </a:xfrm>
                <a:prstGeom prst="rect">
                  <a:avLst/>
                </a:prstGeom>
              </p:spPr>
            </p:pic>
            <p:grpSp>
              <p:nvGrpSpPr>
                <p:cNvPr id="321" name="Laptop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405A1A9-C5A0-F445-B7A7-B7602AD41B63}"/>
                    </a:ext>
                  </a:extLst>
                </p:cNvPr>
                <p:cNvGrpSpPr>
                  <a:grpSpLocks noChangeAspect="1"/>
                </p:cNvGrpSpPr>
                <p:nvPr>
                  <p:custDataLst>
                    <p:tags r:id="rId15"/>
                  </p:custDataLst>
                </p:nvPr>
              </p:nvGrpSpPr>
              <p:grpSpPr bwMode="auto">
                <a:xfrm>
                  <a:off x="4039382" y="4509080"/>
                  <a:ext cx="483726" cy="306467"/>
                  <a:chOff x="25" y="101"/>
                  <a:chExt cx="453" cy="287"/>
                </a:xfrm>
                <a:solidFill>
                  <a:srgbClr val="013BA9"/>
                </a:solidFill>
              </p:grpSpPr>
              <p:sp>
                <p:nvSpPr>
                  <p:cNvPr id="322" name="Laptop2">
                    <a:extLst>
                      <a:ext uri="{FF2B5EF4-FFF2-40B4-BE49-F238E27FC236}">
                        <a16:creationId xmlns:a16="http://schemas.microsoft.com/office/drawing/2014/main" id="{36E0E2A2-22F0-F945-BF3B-04561674CC51}"/>
                      </a:ext>
                    </a:extLst>
                  </p:cNvPr>
                  <p:cNvSpPr>
                    <a:spLocks/>
                  </p:cNvSpPr>
                  <p:nvPr>
                    <p:custDataLst>
                      <p:tags r:id="rId17"/>
                    </p:custDataLst>
                  </p:nvPr>
                </p:nvSpPr>
                <p:spPr bwMode="auto">
                  <a:xfrm>
                    <a:off x="25" y="365"/>
                    <a:ext cx="453" cy="23"/>
                  </a:xfrm>
                  <a:custGeom>
                    <a:avLst/>
                    <a:gdLst>
                      <a:gd name="T0" fmla="*/ 1179 w 1206"/>
                      <a:gd name="T1" fmla="*/ 40 h 61"/>
                      <a:gd name="T2" fmla="*/ 1158 w 1206"/>
                      <a:gd name="T3" fmla="*/ 61 h 61"/>
                      <a:gd name="T4" fmla="*/ 38 w 1206"/>
                      <a:gd name="T5" fmla="*/ 61 h 61"/>
                      <a:gd name="T6" fmla="*/ 18 w 1206"/>
                      <a:gd name="T7" fmla="*/ 40 h 61"/>
                      <a:gd name="T8" fmla="*/ 0 w 1206"/>
                      <a:gd name="T9" fmla="*/ 21 h 61"/>
                      <a:gd name="T10" fmla="*/ 21 w 1206"/>
                      <a:gd name="T11" fmla="*/ 0 h 61"/>
                      <a:gd name="T12" fmla="*/ 1186 w 1206"/>
                      <a:gd name="T13" fmla="*/ 4 h 61"/>
                      <a:gd name="T14" fmla="*/ 1206 w 1206"/>
                      <a:gd name="T15" fmla="*/ 24 h 61"/>
                      <a:gd name="T16" fmla="*/ 1179 w 1206"/>
                      <a:gd name="T17" fmla="*/ 40 h 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206" h="61">
                        <a:moveTo>
                          <a:pt x="1179" y="40"/>
                        </a:moveTo>
                        <a:cubicBezTo>
                          <a:pt x="1179" y="51"/>
                          <a:pt x="1169" y="61"/>
                          <a:pt x="1158" y="61"/>
                        </a:cubicBezTo>
                        <a:lnTo>
                          <a:pt x="38" y="61"/>
                        </a:lnTo>
                        <a:cubicBezTo>
                          <a:pt x="27" y="61"/>
                          <a:pt x="18" y="51"/>
                          <a:pt x="18" y="40"/>
                        </a:cubicBezTo>
                        <a:lnTo>
                          <a:pt x="0" y="21"/>
                        </a:lnTo>
                        <a:cubicBezTo>
                          <a:pt x="0" y="10"/>
                          <a:pt x="10" y="0"/>
                          <a:pt x="21" y="0"/>
                        </a:cubicBezTo>
                        <a:lnTo>
                          <a:pt x="1186" y="4"/>
                        </a:lnTo>
                        <a:cubicBezTo>
                          <a:pt x="1197" y="4"/>
                          <a:pt x="1206" y="13"/>
                          <a:pt x="1206" y="24"/>
                        </a:cubicBezTo>
                        <a:lnTo>
                          <a:pt x="1179" y="4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3" name="Laptop2">
                    <a:extLst>
                      <a:ext uri="{FF2B5EF4-FFF2-40B4-BE49-F238E27FC236}">
                        <a16:creationId xmlns:a16="http://schemas.microsoft.com/office/drawing/2014/main" id="{C4D4C095-C4E3-7041-B7FB-F54987509E3C}"/>
                      </a:ext>
                    </a:extLst>
                  </p:cNvPr>
                  <p:cNvSpPr>
                    <a:spLocks noEditPoints="1"/>
                  </p:cNvSpPr>
                  <p:nvPr>
                    <p:custDataLst>
                      <p:tags r:id="rId18"/>
                    </p:custDataLst>
                  </p:nvPr>
                </p:nvSpPr>
                <p:spPr bwMode="auto">
                  <a:xfrm>
                    <a:off x="25" y="308"/>
                    <a:ext cx="448" cy="62"/>
                  </a:xfrm>
                  <a:custGeom>
                    <a:avLst/>
                    <a:gdLst>
                      <a:gd name="T0" fmla="*/ 437 w 1194"/>
                      <a:gd name="T1" fmla="*/ 159 h 164"/>
                      <a:gd name="T2" fmla="*/ 480 w 1194"/>
                      <a:gd name="T3" fmla="*/ 118 h 164"/>
                      <a:gd name="T4" fmla="*/ 493 w 1194"/>
                      <a:gd name="T5" fmla="*/ 113 h 164"/>
                      <a:gd name="T6" fmla="*/ 660 w 1194"/>
                      <a:gd name="T7" fmla="*/ 113 h 164"/>
                      <a:gd name="T8" fmla="*/ 673 w 1194"/>
                      <a:gd name="T9" fmla="*/ 118 h 164"/>
                      <a:gd name="T10" fmla="*/ 716 w 1194"/>
                      <a:gd name="T11" fmla="*/ 158 h 164"/>
                      <a:gd name="T12" fmla="*/ 1194 w 1194"/>
                      <a:gd name="T13" fmla="*/ 155 h 164"/>
                      <a:gd name="T14" fmla="*/ 1025 w 1194"/>
                      <a:gd name="T15" fmla="*/ 0 h 164"/>
                      <a:gd name="T16" fmla="*/ 161 w 1194"/>
                      <a:gd name="T17" fmla="*/ 0 h 164"/>
                      <a:gd name="T18" fmla="*/ 0 w 1194"/>
                      <a:gd name="T19" fmla="*/ 164 h 164"/>
                      <a:gd name="T20" fmla="*/ 438 w 1194"/>
                      <a:gd name="T21" fmla="*/ 160 h 164"/>
                      <a:gd name="T22" fmla="*/ 437 w 1194"/>
                      <a:gd name="T23" fmla="*/ 159 h 164"/>
                      <a:gd name="T24" fmla="*/ 268 w 1194"/>
                      <a:gd name="T25" fmla="*/ 22 h 164"/>
                      <a:gd name="T26" fmla="*/ 927 w 1194"/>
                      <a:gd name="T27" fmla="*/ 22 h 164"/>
                      <a:gd name="T28" fmla="*/ 1056 w 1194"/>
                      <a:gd name="T29" fmla="*/ 95 h 164"/>
                      <a:gd name="T30" fmla="*/ 145 w 1194"/>
                      <a:gd name="T31" fmla="*/ 100 h 164"/>
                      <a:gd name="T32" fmla="*/ 268 w 1194"/>
                      <a:gd name="T33" fmla="*/ 22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194" h="164">
                        <a:moveTo>
                          <a:pt x="437" y="159"/>
                        </a:moveTo>
                        <a:lnTo>
                          <a:pt x="480" y="118"/>
                        </a:lnTo>
                        <a:cubicBezTo>
                          <a:pt x="480" y="115"/>
                          <a:pt x="486" y="113"/>
                          <a:pt x="493" y="113"/>
                        </a:cubicBezTo>
                        <a:lnTo>
                          <a:pt x="660" y="113"/>
                        </a:lnTo>
                        <a:cubicBezTo>
                          <a:pt x="667" y="113"/>
                          <a:pt x="673" y="115"/>
                          <a:pt x="673" y="118"/>
                        </a:cubicBezTo>
                        <a:lnTo>
                          <a:pt x="716" y="158"/>
                        </a:lnTo>
                        <a:lnTo>
                          <a:pt x="1194" y="155"/>
                        </a:lnTo>
                        <a:lnTo>
                          <a:pt x="1025" y="0"/>
                        </a:lnTo>
                        <a:lnTo>
                          <a:pt x="161" y="0"/>
                        </a:lnTo>
                        <a:lnTo>
                          <a:pt x="0" y="164"/>
                        </a:lnTo>
                        <a:lnTo>
                          <a:pt x="438" y="160"/>
                        </a:lnTo>
                        <a:cubicBezTo>
                          <a:pt x="437" y="160"/>
                          <a:pt x="437" y="159"/>
                          <a:pt x="437" y="159"/>
                        </a:cubicBezTo>
                        <a:close/>
                        <a:moveTo>
                          <a:pt x="268" y="22"/>
                        </a:moveTo>
                        <a:lnTo>
                          <a:pt x="927" y="22"/>
                        </a:lnTo>
                        <a:lnTo>
                          <a:pt x="1056" y="95"/>
                        </a:lnTo>
                        <a:lnTo>
                          <a:pt x="145" y="100"/>
                        </a:lnTo>
                        <a:lnTo>
                          <a:pt x="268" y="22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24" name="Laptop2">
                    <a:extLst>
                      <a:ext uri="{FF2B5EF4-FFF2-40B4-BE49-F238E27FC236}">
                        <a16:creationId xmlns:a16="http://schemas.microsoft.com/office/drawing/2014/main" id="{9B941C3A-D80C-224F-BF26-61F8162D945A}"/>
                      </a:ext>
                    </a:extLst>
                  </p:cNvPr>
                  <p:cNvSpPr>
                    <a:spLocks noEditPoints="1"/>
                  </p:cNvSpPr>
                  <p:nvPr>
                    <p:custDataLst>
                      <p:tags r:id="rId19"/>
                    </p:custDataLst>
                  </p:nvPr>
                </p:nvSpPr>
                <p:spPr bwMode="auto">
                  <a:xfrm>
                    <a:off x="85" y="101"/>
                    <a:ext cx="325" cy="207"/>
                  </a:xfrm>
                  <a:custGeom>
                    <a:avLst/>
                    <a:gdLst>
                      <a:gd name="T0" fmla="*/ 843 w 864"/>
                      <a:gd name="T1" fmla="*/ 0 h 552"/>
                      <a:gd name="T2" fmla="*/ 21 w 864"/>
                      <a:gd name="T3" fmla="*/ 0 h 552"/>
                      <a:gd name="T4" fmla="*/ 0 w 864"/>
                      <a:gd name="T5" fmla="*/ 21 h 552"/>
                      <a:gd name="T6" fmla="*/ 0 w 864"/>
                      <a:gd name="T7" fmla="*/ 552 h 552"/>
                      <a:gd name="T8" fmla="*/ 864 w 864"/>
                      <a:gd name="T9" fmla="*/ 552 h 552"/>
                      <a:gd name="T10" fmla="*/ 864 w 864"/>
                      <a:gd name="T11" fmla="*/ 21 h 552"/>
                      <a:gd name="T12" fmla="*/ 843 w 864"/>
                      <a:gd name="T13" fmla="*/ 0 h 552"/>
                      <a:gd name="T14" fmla="*/ 436 w 864"/>
                      <a:gd name="T15" fmla="*/ 6 h 552"/>
                      <a:gd name="T16" fmla="*/ 445 w 864"/>
                      <a:gd name="T17" fmla="*/ 14 h 552"/>
                      <a:gd name="T18" fmla="*/ 436 w 864"/>
                      <a:gd name="T19" fmla="*/ 23 h 552"/>
                      <a:gd name="T20" fmla="*/ 428 w 864"/>
                      <a:gd name="T21" fmla="*/ 14 h 552"/>
                      <a:gd name="T22" fmla="*/ 436 w 864"/>
                      <a:gd name="T23" fmla="*/ 6 h 552"/>
                      <a:gd name="T24" fmla="*/ 830 w 864"/>
                      <a:gd name="T25" fmla="*/ 518 h 552"/>
                      <a:gd name="T26" fmla="*/ 34 w 864"/>
                      <a:gd name="T27" fmla="*/ 518 h 552"/>
                      <a:gd name="T28" fmla="*/ 34 w 864"/>
                      <a:gd name="T29" fmla="*/ 35 h 552"/>
                      <a:gd name="T30" fmla="*/ 830 w 864"/>
                      <a:gd name="T31" fmla="*/ 35 h 552"/>
                      <a:gd name="T32" fmla="*/ 830 w 864"/>
                      <a:gd name="T33" fmla="*/ 518 h 55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864" h="552">
                        <a:moveTo>
                          <a:pt x="843" y="0"/>
                        </a:moveTo>
                        <a:lnTo>
                          <a:pt x="21" y="0"/>
                        </a:lnTo>
                        <a:cubicBezTo>
                          <a:pt x="9" y="0"/>
                          <a:pt x="0" y="10"/>
                          <a:pt x="0" y="21"/>
                        </a:cubicBezTo>
                        <a:lnTo>
                          <a:pt x="0" y="552"/>
                        </a:lnTo>
                        <a:lnTo>
                          <a:pt x="864" y="552"/>
                        </a:lnTo>
                        <a:lnTo>
                          <a:pt x="864" y="21"/>
                        </a:lnTo>
                        <a:cubicBezTo>
                          <a:pt x="864" y="10"/>
                          <a:pt x="855" y="0"/>
                          <a:pt x="843" y="0"/>
                        </a:cubicBezTo>
                        <a:close/>
                        <a:moveTo>
                          <a:pt x="436" y="6"/>
                        </a:moveTo>
                        <a:cubicBezTo>
                          <a:pt x="441" y="6"/>
                          <a:pt x="445" y="9"/>
                          <a:pt x="445" y="14"/>
                        </a:cubicBezTo>
                        <a:cubicBezTo>
                          <a:pt x="445" y="19"/>
                          <a:pt x="441" y="23"/>
                          <a:pt x="436" y="23"/>
                        </a:cubicBezTo>
                        <a:cubicBezTo>
                          <a:pt x="432" y="23"/>
                          <a:pt x="428" y="19"/>
                          <a:pt x="428" y="14"/>
                        </a:cubicBezTo>
                        <a:cubicBezTo>
                          <a:pt x="428" y="9"/>
                          <a:pt x="432" y="6"/>
                          <a:pt x="436" y="6"/>
                        </a:cubicBezTo>
                        <a:close/>
                        <a:moveTo>
                          <a:pt x="830" y="518"/>
                        </a:moveTo>
                        <a:lnTo>
                          <a:pt x="34" y="518"/>
                        </a:lnTo>
                        <a:lnTo>
                          <a:pt x="34" y="35"/>
                        </a:lnTo>
                        <a:lnTo>
                          <a:pt x="830" y="35"/>
                        </a:lnTo>
                        <a:lnTo>
                          <a:pt x="830" y="518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  <p:pic>
              <p:nvPicPr>
                <p:cNvPr id="325" name="Рисунок 324">
                  <a:extLst>
                    <a:ext uri="{FF2B5EF4-FFF2-40B4-BE49-F238E27FC236}">
                      <a16:creationId xmlns:a16="http://schemas.microsoft.com/office/drawing/2014/main" id="{179FD439-01DE-224F-BF73-EA777E0FA7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9" cstate="print">
                  <a:biLevel thresh="50000"/>
                  <a:extLst>
                    <a:ext uri="{BEBA8EAE-BF5A-486C-A8C5-ECC9F3942E4B}">
                      <a14:imgProps xmlns:a14="http://schemas.microsoft.com/office/drawing/2010/main">
                        <a14:imgLayer r:embed="rId80"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46216" y="4400103"/>
                  <a:ext cx="510775" cy="510775"/>
                </a:xfrm>
                <a:prstGeom prst="rect">
                  <a:avLst/>
                </a:prstGeom>
              </p:spPr>
            </p:pic>
            <p:pic>
              <p:nvPicPr>
                <p:cNvPr id="328" name="Рисунок 327">
                  <a:extLst>
                    <a:ext uri="{FF2B5EF4-FFF2-40B4-BE49-F238E27FC236}">
                      <a16:creationId xmlns:a16="http://schemas.microsoft.com/office/drawing/2014/main" id="{F4CEF520-33FA-344E-AE5C-AD0B9C70BF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1" cstate="print">
                  <a:biLevel thresh="50000"/>
                  <a:extLst>
                    <a:ext uri="{BEBA8EAE-BF5A-486C-A8C5-ECC9F3942E4B}">
                      <a14:imgProps xmlns:a14="http://schemas.microsoft.com/office/drawing/2010/main">
                        <a14:imgLayer r:embed="rId82"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57838" y="2306914"/>
                  <a:ext cx="524421" cy="524421"/>
                </a:xfrm>
                <a:prstGeom prst="rect">
                  <a:avLst/>
                </a:prstGeom>
              </p:spPr>
            </p:pic>
            <p:sp>
              <p:nvSpPr>
                <p:cNvPr id="331" name="High_Voltage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EF318936-62DD-8F4C-9D19-490A6E2F2586}"/>
                    </a:ext>
                  </a:extLst>
                </p:cNvPr>
                <p:cNvSpPr>
                  <a:spLocks noChangeAspect="1"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5947658" y="5328394"/>
                  <a:ext cx="269733" cy="542925"/>
                </a:xfrm>
                <a:custGeom>
                  <a:avLst/>
                  <a:gdLst>
                    <a:gd name="T0" fmla="*/ 318 w 621"/>
                    <a:gd name="T1" fmla="*/ 5 h 1250"/>
                    <a:gd name="T2" fmla="*/ 0 w 621"/>
                    <a:gd name="T3" fmla="*/ 791 h 1250"/>
                    <a:gd name="T4" fmla="*/ 445 w 621"/>
                    <a:gd name="T5" fmla="*/ 637 h 1250"/>
                    <a:gd name="T6" fmla="*/ 330 w 621"/>
                    <a:gd name="T7" fmla="*/ 1068 h 1250"/>
                    <a:gd name="T8" fmla="*/ 254 w 621"/>
                    <a:gd name="T9" fmla="*/ 1008 h 1250"/>
                    <a:gd name="T10" fmla="*/ 293 w 621"/>
                    <a:gd name="T11" fmla="*/ 1250 h 1250"/>
                    <a:gd name="T12" fmla="*/ 464 w 621"/>
                    <a:gd name="T13" fmla="*/ 1047 h 1250"/>
                    <a:gd name="T14" fmla="*/ 358 w 621"/>
                    <a:gd name="T15" fmla="*/ 1073 h 1250"/>
                    <a:gd name="T16" fmla="*/ 621 w 621"/>
                    <a:gd name="T17" fmla="*/ 504 h 1250"/>
                    <a:gd name="T18" fmla="*/ 147 w 621"/>
                    <a:gd name="T19" fmla="*/ 652 h 1250"/>
                    <a:gd name="T20" fmla="*/ 489 w 621"/>
                    <a:gd name="T21" fmla="*/ 0 h 1250"/>
                    <a:gd name="T22" fmla="*/ 318 w 621"/>
                    <a:gd name="T23" fmla="*/ 5 h 1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21" h="1250">
                      <a:moveTo>
                        <a:pt x="318" y="5"/>
                      </a:moveTo>
                      <a:lnTo>
                        <a:pt x="0" y="791"/>
                      </a:lnTo>
                      <a:lnTo>
                        <a:pt x="445" y="637"/>
                      </a:lnTo>
                      <a:lnTo>
                        <a:pt x="330" y="1068"/>
                      </a:lnTo>
                      <a:lnTo>
                        <a:pt x="254" y="1008"/>
                      </a:lnTo>
                      <a:lnTo>
                        <a:pt x="293" y="1250"/>
                      </a:lnTo>
                      <a:lnTo>
                        <a:pt x="464" y="1047"/>
                      </a:lnTo>
                      <a:lnTo>
                        <a:pt x="358" y="1073"/>
                      </a:lnTo>
                      <a:lnTo>
                        <a:pt x="621" y="504"/>
                      </a:lnTo>
                      <a:lnTo>
                        <a:pt x="147" y="652"/>
                      </a:lnTo>
                      <a:lnTo>
                        <a:pt x="489" y="0"/>
                      </a:lnTo>
                      <a:lnTo>
                        <a:pt x="318" y="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" name="Прямоугольник 2">
                <a:extLst>
                  <a:ext uri="{FF2B5EF4-FFF2-40B4-BE49-F238E27FC236}">
                    <a16:creationId xmlns:a16="http://schemas.microsoft.com/office/drawing/2014/main" id="{ED82FF5F-5C02-1C3E-3C9C-56EC60A1EF1A}"/>
                  </a:ext>
                </a:extLst>
              </p:cNvPr>
              <p:cNvSpPr/>
              <p:nvPr/>
            </p:nvSpPr>
            <p:spPr>
              <a:xfrm>
                <a:off x="6901907" y="3562350"/>
                <a:ext cx="360016" cy="10615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B90DECBF-B2C7-189F-79D7-F2C890E19272}"/>
                  </a:ext>
                </a:extLst>
              </p:cNvPr>
              <p:cNvSpPr/>
              <p:nvPr/>
            </p:nvSpPr>
            <p:spPr>
              <a:xfrm rot="17991800">
                <a:off x="6398234" y="2704057"/>
                <a:ext cx="360016" cy="106150"/>
              </a:xfrm>
              <a:prstGeom prst="rect">
                <a:avLst/>
              </a:pr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1C601EC-4A84-EC64-3753-D8F99F52C0C3}"/>
              </a:ext>
            </a:extLst>
          </p:cNvPr>
          <p:cNvSpPr txBox="1">
            <a:spLocks/>
          </p:cNvSpPr>
          <p:nvPr/>
        </p:nvSpPr>
        <p:spPr>
          <a:xfrm>
            <a:off x="519597" y="230030"/>
            <a:ext cx="11305094" cy="1325563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" sz="3200" b="1" dirty="0">
                <a:solidFill>
                  <a:srgbClr val="2E35AD"/>
                </a:solidFill>
                <a:latin typeface="+mj-lt"/>
              </a:rPr>
              <a:t>Subjective index of child well-being: 6 domains</a:t>
            </a:r>
            <a:endParaRPr lang="ru-RU" sz="3200" dirty="0">
              <a:solidFill>
                <a:srgbClr val="2E35AD"/>
              </a:solidFill>
              <a:latin typeface="+mj-lt"/>
            </a:endParaRPr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319B2623-92B4-4945-8AE0-23CE187EC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16FB06CD-5494-41BD-83B1-4871ACE70290}" type="slidenum">
              <a:rPr lang="ru-RU">
                <a:ea typeface="Verdana" panose="020B0604030504040204" pitchFamily="34" charset="0"/>
                <a:cs typeface="Arial" panose="020B0604020202020204" pitchFamily="34" charset="0"/>
              </a:rPr>
              <a:pPr/>
              <a:t>8</a:t>
            </a:fld>
            <a:endParaRPr lang="ru-RU" dirty="0"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89034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Прямоугольник 131"/>
          <p:cNvSpPr/>
          <p:nvPr/>
        </p:nvSpPr>
        <p:spPr>
          <a:xfrm>
            <a:off x="456151" y="553997"/>
            <a:ext cx="711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3200" b="1" dirty="0">
                <a:solidFill>
                  <a:srgbClr val="2E35AD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ults</a:t>
            </a:r>
          </a:p>
        </p:txBody>
      </p:sp>
      <p:sp>
        <p:nvSpPr>
          <p:cNvPr id="3" name="Номер слайда 4">
            <a:extLst>
              <a:ext uri="{FF2B5EF4-FFF2-40B4-BE49-F238E27FC236}">
                <a16:creationId xmlns:a16="http://schemas.microsoft.com/office/drawing/2014/main" id="{12D32DC8-9B42-74EB-27E4-A7D24A25357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44B9BD-BE87-2247-8BE3-3952786F03FD}" type="slidenum">
              <a:rPr lang="ru-RU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pPr/>
              <a:t>9</a:t>
            </a:fld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CAD2DDA-06D6-6C0E-3291-FFA6E9DBC5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959603"/>
              </p:ext>
            </p:extLst>
          </p:nvPr>
        </p:nvGraphicFramePr>
        <p:xfrm>
          <a:off x="0" y="1581064"/>
          <a:ext cx="12192000" cy="4308162"/>
        </p:xfrm>
        <a:graphic>
          <a:graphicData uri="http://schemas.openxmlformats.org/drawingml/2006/table">
            <a:tbl>
              <a:tblPr/>
              <a:tblGrid>
                <a:gridCol w="4038015">
                  <a:extLst>
                    <a:ext uri="{9D8B030D-6E8A-4147-A177-3AD203B41FA5}">
                      <a16:colId xmlns:a16="http://schemas.microsoft.com/office/drawing/2014/main" val="3977171764"/>
                    </a:ext>
                  </a:extLst>
                </a:gridCol>
                <a:gridCol w="1826087">
                  <a:extLst>
                    <a:ext uri="{9D8B030D-6E8A-4147-A177-3AD203B41FA5}">
                      <a16:colId xmlns:a16="http://schemas.microsoft.com/office/drawing/2014/main" val="2628007122"/>
                    </a:ext>
                  </a:extLst>
                </a:gridCol>
                <a:gridCol w="1641598">
                  <a:extLst>
                    <a:ext uri="{9D8B030D-6E8A-4147-A177-3AD203B41FA5}">
                      <a16:colId xmlns:a16="http://schemas.microsoft.com/office/drawing/2014/main" val="3910244479"/>
                    </a:ext>
                  </a:extLst>
                </a:gridCol>
                <a:gridCol w="1731590">
                  <a:extLst>
                    <a:ext uri="{9D8B030D-6E8A-4147-A177-3AD203B41FA5}">
                      <a16:colId xmlns:a16="http://schemas.microsoft.com/office/drawing/2014/main" val="3756525306"/>
                    </a:ext>
                  </a:extLst>
                </a:gridCol>
                <a:gridCol w="1781230">
                  <a:extLst>
                    <a:ext uri="{9D8B030D-6E8A-4147-A177-3AD203B41FA5}">
                      <a16:colId xmlns:a16="http://schemas.microsoft.com/office/drawing/2014/main" val="3700462915"/>
                    </a:ext>
                  </a:extLst>
                </a:gridCol>
                <a:gridCol w="1173480">
                  <a:extLst>
                    <a:ext uri="{9D8B030D-6E8A-4147-A177-3AD203B41FA5}">
                      <a16:colId xmlns:a16="http://schemas.microsoft.com/office/drawing/2014/main" val="4187592542"/>
                    </a:ext>
                  </a:extLst>
                </a:gridCol>
              </a:tblGrid>
              <a:tr h="717585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Region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total population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-17 years old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urveyed in 2021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urveyed in 2022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Share</a:t>
                      </a:r>
                    </a:p>
                  </a:txBody>
                  <a:tcPr marL="144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35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557532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Altai </a:t>
                      </a:r>
                      <a:r>
                        <a:rPr lang="en-US" sz="2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krai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 296 353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14 608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5 549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6.56</a:t>
                      </a:r>
                      <a:endParaRPr lang="ru-RU" sz="2000" b="0" i="0" u="none" strike="noStrike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6342986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Kaliningrad region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018 624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5 401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400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8.67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1474501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Leningrad region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892 711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44 587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986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 156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.95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3248496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Republic of Bashkortostan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4013786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388 348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119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8 144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.25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8753115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Republic of Karelia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09 071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55 046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 495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1.80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1856948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Tambov Region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94 420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5 864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942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4 666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9.33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8782384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Ulyanovsk region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218 319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4 450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7 587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1 325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2.58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1718746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KhMAO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687 654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78 774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9 692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2 249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6.85</a:t>
                      </a:r>
                      <a:endParaRPr lang="ru-RU" sz="2000" b="0" i="0" u="none" strike="noStrike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0387482"/>
                  </a:ext>
                </a:extLst>
              </a:tr>
              <a:tr h="398953">
                <a:tc>
                  <a:txBody>
                    <a:bodyPr/>
                    <a:lstStyle/>
                    <a:p>
                      <a:pPr algn="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TOTAL:</a:t>
                      </a:r>
                    </a:p>
                  </a:txBody>
                  <a:tcPr marL="108000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 730 938</a:t>
                      </a:r>
                    </a:p>
                  </a:txBody>
                  <a:tcPr marL="251999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 237 078</a:t>
                      </a:r>
                    </a:p>
                  </a:txBody>
                  <a:tcPr marL="251999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23 326</a:t>
                      </a:r>
                    </a:p>
                  </a:txBody>
                  <a:tcPr marL="251999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1" i="0" u="none" strike="noStrike" kern="1200" dirty="0">
                          <a:solidFill>
                            <a:srgbClr val="2E35AD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32 984</a:t>
                      </a:r>
                    </a:p>
                  </a:txBody>
                  <a:tcPr marL="251999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" sz="2000" b="0" i="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10.75</a:t>
                      </a:r>
                    </a:p>
                  </a:txBody>
                  <a:tcPr marL="251999" marR="16595" marT="1659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587077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70198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ircle_with_icon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-voltage_POWER_USER_SEPARATOR_ICONS_electricit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ee*nature*outdoors*park*forest*game*kids*children*swings*gir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ircle_with_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256</TotalTime>
  <Words>1041</Words>
  <Application>Microsoft Office PowerPoint</Application>
  <PresentationFormat>Широкоэкранный</PresentationFormat>
  <Paragraphs>271</Paragraphs>
  <Slides>13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Arial</vt:lpstr>
      <vt:lpstr>Bahnschrift SemiBold Condensed</vt:lpstr>
      <vt:lpstr>Bahnschrift SemiLight SemiConde</vt:lpstr>
      <vt:lpstr>Calibri</vt:lpstr>
      <vt:lpstr>Helvetica Neue Medium</vt:lpstr>
      <vt:lpstr>Verdana</vt:lpstr>
      <vt:lpstr>Wingdings</vt:lpstr>
      <vt:lpstr>Тема Office</vt:lpstr>
      <vt:lpstr> “ Russian index of child well-being: implementation experience and development perspectives ”</vt:lpstr>
      <vt:lpstr>Capabilities of the CWB system</vt:lpstr>
      <vt:lpstr>Partnership in creating of a child well-being index </vt:lpstr>
      <vt:lpstr>Презентация PowerPoint</vt:lpstr>
      <vt:lpstr>Презентация PowerPoint</vt:lpstr>
      <vt:lpstr>Презентация PowerPoint</vt:lpstr>
      <vt:lpstr>Subjective index of child well-being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лгосрочные и краткосрочные экономические эффекты сдвигов возрастной структуры населения в России и Китае</dc:title>
  <dc:creator>spds.for@bk.ru</dc:creator>
  <cp:lastModifiedBy>Ivan Tarasov</cp:lastModifiedBy>
  <cp:revision>632</cp:revision>
  <dcterms:created xsi:type="dcterms:W3CDTF">2022-04-15T19:19:20Z</dcterms:created>
  <dcterms:modified xsi:type="dcterms:W3CDTF">2023-05-22T15:49:28Z</dcterms:modified>
</cp:coreProperties>
</file>